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232" r:id="rId1"/>
  </p:sldMasterIdLst>
  <p:notesMasterIdLst>
    <p:notesMasterId r:id="rId14"/>
  </p:notesMasterIdLst>
  <p:handoutMasterIdLst>
    <p:handoutMasterId r:id="rId15"/>
  </p:handoutMasterIdLst>
  <p:sldIdLst>
    <p:sldId id="909" r:id="rId2"/>
    <p:sldId id="1081" r:id="rId3"/>
    <p:sldId id="1039" r:id="rId4"/>
    <p:sldId id="1079" r:id="rId5"/>
    <p:sldId id="1075" r:id="rId6"/>
    <p:sldId id="741" r:id="rId7"/>
    <p:sldId id="1080" r:id="rId8"/>
    <p:sldId id="1072" r:id="rId9"/>
    <p:sldId id="1082" r:id="rId10"/>
    <p:sldId id="1083" r:id="rId11"/>
    <p:sldId id="1085" r:id="rId12"/>
    <p:sldId id="1055" r:id="rId13"/>
  </p:sldIdLst>
  <p:sldSz cx="9906000" cy="6858000" type="A4"/>
  <p:notesSz cx="6807200" cy="9939338"/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5pPr>
    <a:lvl6pPr marL="22860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6pPr>
    <a:lvl7pPr marL="27432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7pPr>
    <a:lvl8pPr marL="32004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8pPr>
    <a:lvl9pPr marL="3657600" algn="l" defTabSz="914400" rtl="0" eaLnBrk="1" latinLnBrk="1" hangingPunct="1">
      <a:defRPr kumimoji="1" b="1" kern="1200">
        <a:solidFill>
          <a:schemeClr val="tx1"/>
        </a:solidFill>
        <a:latin typeface="돋움" panose="020B0600000101010101" pitchFamily="50" charset="-127"/>
        <a:ea typeface="굴림" panose="020B0600000101010101" pitchFamily="50" charset="-127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프로젝트 등록서" id="{982A2624-D513-4565-AA05-D8A95F9D67DC}">
          <p14:sldIdLst>
            <p14:sldId id="909"/>
          </p14:sldIdLst>
        </p14:section>
        <p14:section name="D" id="{FB04C151-58D5-415E-A547-8B38E59A9DA8}">
          <p14:sldIdLst>
            <p14:sldId id="1081"/>
          </p14:sldIdLst>
        </p14:section>
        <p14:section name="M" id="{BFE5DE09-16B3-4C40-9E10-BE87CB453879}">
          <p14:sldIdLst>
            <p14:sldId id="1039"/>
            <p14:sldId id="1079"/>
          </p14:sldIdLst>
        </p14:section>
        <p14:section name="A" id="{275FE295-F23D-4511-8200-E0292F091124}">
          <p14:sldIdLst>
            <p14:sldId id="1075"/>
            <p14:sldId id="741"/>
            <p14:sldId id="1080"/>
            <p14:sldId id="1072"/>
          </p14:sldIdLst>
        </p14:section>
        <p14:section name="I" id="{C87C7348-AD8B-48EC-9FA6-EF5592F3AAFE}">
          <p14:sldIdLst>
            <p14:sldId id="1082"/>
            <p14:sldId id="1083"/>
          </p14:sldIdLst>
        </p14:section>
        <p14:section name="C" id="{4688188C-16EE-450A-9121-0966B87724A5}">
          <p14:sldIdLst>
            <p14:sldId id="1085"/>
            <p14:sldId id="10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6">
          <p15:clr>
            <a:srgbClr val="A4A3A4"/>
          </p15:clr>
        </p15:guide>
        <p15:guide id="2" pos="6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FFFF00"/>
    <a:srgbClr val="FF0000"/>
    <a:srgbClr val="99CCFF"/>
    <a:srgbClr val="006600"/>
    <a:srgbClr val="808080"/>
    <a:srgbClr val="C5003D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16" autoAdjust="0"/>
    <p:restoredTop sz="71607" autoAdjust="0"/>
  </p:normalViewPr>
  <p:slideViewPr>
    <p:cSldViewPr snapToObjects="1">
      <p:cViewPr varScale="1">
        <p:scale>
          <a:sx n="120" d="100"/>
          <a:sy n="120" d="100"/>
        </p:scale>
        <p:origin x="1494" y="108"/>
      </p:cViewPr>
      <p:guideLst>
        <p:guide orient="horz" pos="2886"/>
        <p:guide pos="6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5" d="100"/>
          <a:sy n="85" d="100"/>
        </p:scale>
        <p:origin x="-1878" y="-90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B427B405-2E2C-4D8D-B194-B9E29F87B5EF}" type="datetimeFigureOut">
              <a:rPr lang="ko-KR" altLang="en-US"/>
              <a:pPr>
                <a:defRPr/>
              </a:pPr>
              <a:t>2020-10-0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>
                <a:latin typeface="굴림" panose="020B0600000101010101" pitchFamily="50" charset="-127"/>
              </a:defRPr>
            </a:lvl1pPr>
          </a:lstStyle>
          <a:p>
            <a:pPr>
              <a:defRPr/>
            </a:pPr>
            <a:fld id="{5450777A-511A-4607-86BC-F467EBCA41AF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5125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latinLnBrk="1" hangingPunct="1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200" b="0">
                <a:latin typeface="굴림" panose="020B0600000101010101" pitchFamily="50" charset="-127"/>
              </a:defRPr>
            </a:lvl1pPr>
          </a:lstStyle>
          <a:p>
            <a:pPr>
              <a:defRPr/>
            </a:pPr>
            <a:fld id="{1DEB3675-5431-4D01-B7DD-6C5E9C2357E4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614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46D5D888-B646-4082-8F33-D5FA4F536AEB}" type="slidenum">
              <a:rPr lang="en-US" altLang="ko-KR" smtClean="0"/>
              <a:pPr>
                <a:spcBef>
                  <a:spcPct val="0"/>
                </a:spcBef>
              </a:pPr>
              <a:t>1</a:t>
            </a:fld>
            <a:endParaRPr lang="en-US" altLang="ko-KR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개선이 되었다고 무작정 적용할 수는 없었습니다</a:t>
            </a:r>
            <a:r>
              <a:rPr lang="en-US" altLang="ko-KR" smtClean="0"/>
              <a:t>. Side effect</a:t>
            </a:r>
            <a:r>
              <a:rPr lang="ko-KR" altLang="en-US" smtClean="0"/>
              <a:t>를 무시할 수 없기 때문입니다</a:t>
            </a:r>
            <a:r>
              <a:rPr lang="en-US" altLang="ko-KR" smtClean="0"/>
              <a:t>. </a:t>
            </a:r>
            <a:r>
              <a:rPr lang="ko-KR" altLang="en-US" smtClean="0"/>
              <a:t>저희가 염려했던 것은 소모전류의 증가인데</a:t>
            </a:r>
            <a:r>
              <a:rPr lang="en-US" altLang="ko-KR" smtClean="0"/>
              <a:t>, </a:t>
            </a:r>
            <a:r>
              <a:rPr lang="ko-KR" altLang="en-US" smtClean="0"/>
              <a:t>이 또한 그렇게 많은 전류를 소모하지 않는다는 결과를 실험을 통해 알게되었습니다</a:t>
            </a:r>
            <a:r>
              <a:rPr lang="en-US" altLang="ko-KR" smtClean="0"/>
              <a:t>. IC</a:t>
            </a:r>
            <a:r>
              <a:rPr lang="ko-KR" altLang="en-US" smtClean="0"/>
              <a:t>업체에 이 조합으로 입고해 줄 것을 요청하였고</a:t>
            </a:r>
            <a:r>
              <a:rPr lang="en-US" altLang="ko-KR" smtClean="0"/>
              <a:t>, OIS </a:t>
            </a:r>
            <a:r>
              <a:rPr lang="ko-KR" altLang="en-US" smtClean="0"/>
              <a:t>성능을 상당히 개선할 수 있었습니다</a:t>
            </a:r>
            <a:r>
              <a:rPr lang="en-US" altLang="ko-KR" smtClean="0"/>
              <a:t>. </a:t>
            </a:r>
            <a:r>
              <a:rPr lang="ko-KR" altLang="en-US" smtClean="0"/>
              <a:t>당시</a:t>
            </a:r>
            <a:r>
              <a:rPr lang="en-US" altLang="ko-KR" smtClean="0"/>
              <a:t> 19.27dB</a:t>
            </a:r>
            <a:r>
              <a:rPr lang="ko-KR" altLang="en-US" smtClean="0"/>
              <a:t>의 보정성능은</a:t>
            </a:r>
            <a:r>
              <a:rPr lang="en-US" altLang="ko-KR" smtClean="0"/>
              <a:t> minimum</a:t>
            </a:r>
            <a:r>
              <a:rPr lang="ko-KR" altLang="en-US" smtClean="0"/>
              <a:t>값이었습니다</a:t>
            </a:r>
            <a:r>
              <a:rPr lang="en-US" altLang="ko-KR" smtClean="0"/>
              <a:t>. </a:t>
            </a:r>
            <a:r>
              <a:rPr lang="ko-KR" altLang="en-US" smtClean="0"/>
              <a:t>이보다 작은 수치는 나오지 않았다는 의미입니다</a:t>
            </a:r>
            <a:r>
              <a:rPr lang="en-US" altLang="ko-KR" smtClean="0"/>
              <a:t>. (</a:t>
            </a:r>
            <a:r>
              <a:rPr lang="ko-KR" altLang="en-US" smtClean="0"/>
              <a:t>목표가</a:t>
            </a:r>
            <a:r>
              <a:rPr lang="en-US" altLang="ko-KR" smtClean="0"/>
              <a:t> 17dB</a:t>
            </a:r>
            <a:r>
              <a:rPr lang="ko-KR" altLang="en-US" smtClean="0"/>
              <a:t>였음을 상기</a:t>
            </a:r>
            <a:r>
              <a:rPr lang="en-US" altLang="ko-KR" smtClean="0"/>
              <a:t>)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4408441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당시의 결과 동영상을 제작해 보았습니다</a:t>
            </a:r>
            <a:r>
              <a:rPr lang="en-US" altLang="ko-KR" smtClean="0"/>
              <a:t>. </a:t>
            </a:r>
            <a:r>
              <a:rPr lang="ko-KR" altLang="en-US" smtClean="0"/>
              <a:t>보안 상 멀리 돌아다니며 촬영하지 못하고 연구소 옥상에서 찍었는데</a:t>
            </a:r>
            <a:r>
              <a:rPr lang="en-US" altLang="ko-KR" smtClean="0"/>
              <a:t>, </a:t>
            </a:r>
            <a:r>
              <a:rPr lang="ko-KR" altLang="en-US" smtClean="0"/>
              <a:t>양산 품은 이것보다 훨씬 뛰어난 성능을 보인다는 것을 이미 다 알고 계실 것입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ko-KR" altLang="en-US" smtClean="0"/>
              <a:t>또한 정성적으로는</a:t>
            </a:r>
            <a:r>
              <a:rPr lang="en-US" altLang="ko-KR" smtClean="0"/>
              <a:t> Camera</a:t>
            </a:r>
            <a:r>
              <a:rPr lang="ko-KR" altLang="en-US" smtClean="0"/>
              <a:t>관련 모든 보고 장표에</a:t>
            </a:r>
            <a:r>
              <a:rPr lang="en-US" altLang="ko-KR" smtClean="0"/>
              <a:t> OIS </a:t>
            </a:r>
            <a:r>
              <a:rPr lang="ko-KR" altLang="en-US" smtClean="0"/>
              <a:t>보정율 항목이 추가되었고</a:t>
            </a:r>
            <a:r>
              <a:rPr lang="en-US" altLang="ko-KR" smtClean="0"/>
              <a:t>, </a:t>
            </a:r>
            <a:r>
              <a:rPr lang="ko-KR" altLang="en-US" smtClean="0"/>
              <a:t>현 수준과 목표 수준을</a:t>
            </a:r>
            <a:r>
              <a:rPr lang="en-US" altLang="ko-KR" smtClean="0"/>
              <a:t> Z Value</a:t>
            </a:r>
            <a:r>
              <a:rPr lang="ko-KR" altLang="en-US" smtClean="0"/>
              <a:t>로 표현하게 되었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en-US" altLang="ko-KR" smtClean="0"/>
              <a:t>OIS Suppression(</a:t>
            </a:r>
            <a:r>
              <a:rPr lang="ko-KR" altLang="en-US" smtClean="0"/>
              <a:t>보정</a:t>
            </a:r>
            <a:r>
              <a:rPr lang="en-US" altLang="ko-KR" smtClean="0"/>
              <a:t>) Ratio spec</a:t>
            </a:r>
            <a:r>
              <a:rPr lang="ko-KR" altLang="en-US" smtClean="0"/>
              <a:t>도 평택 품질</a:t>
            </a:r>
            <a:r>
              <a:rPr lang="en-US" altLang="ko-KR" smtClean="0"/>
              <a:t> task </a:t>
            </a:r>
            <a:r>
              <a:rPr lang="ko-KR" altLang="en-US" smtClean="0"/>
              <a:t>멤버들과 함께 정하였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3458110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당시의 결과 동영상을 제작해 보았습니다</a:t>
            </a:r>
            <a:r>
              <a:rPr lang="en-US" altLang="ko-KR" smtClean="0"/>
              <a:t>. </a:t>
            </a:r>
            <a:r>
              <a:rPr lang="ko-KR" altLang="en-US" smtClean="0"/>
              <a:t>보안 상 멀리 돌아다니며 촬영하지 못하고 연구소 옥상에서 찍었는데</a:t>
            </a:r>
            <a:r>
              <a:rPr lang="en-US" altLang="ko-KR" smtClean="0"/>
              <a:t>, </a:t>
            </a:r>
            <a:r>
              <a:rPr lang="ko-KR" altLang="en-US" smtClean="0"/>
              <a:t>양산 품은 이것보다 훨씬 뛰어난 성능을 보인다는 것을 이미 다 알고 계실 것입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ko-KR" altLang="en-US" smtClean="0"/>
              <a:t>또한 정성적으로는</a:t>
            </a:r>
            <a:r>
              <a:rPr lang="en-US" altLang="ko-KR" smtClean="0"/>
              <a:t> Camera</a:t>
            </a:r>
            <a:r>
              <a:rPr lang="ko-KR" altLang="en-US" smtClean="0"/>
              <a:t>관련 모든 보고 장표에</a:t>
            </a:r>
            <a:r>
              <a:rPr lang="en-US" altLang="ko-KR" smtClean="0"/>
              <a:t> OIS </a:t>
            </a:r>
            <a:r>
              <a:rPr lang="ko-KR" altLang="en-US" smtClean="0"/>
              <a:t>보정율 항목이 추가되었고</a:t>
            </a:r>
            <a:r>
              <a:rPr lang="en-US" altLang="ko-KR" smtClean="0"/>
              <a:t>, </a:t>
            </a:r>
            <a:r>
              <a:rPr lang="ko-KR" altLang="en-US" smtClean="0"/>
              <a:t>현 수준과 목표 수준을</a:t>
            </a:r>
            <a:r>
              <a:rPr lang="en-US" altLang="ko-KR" smtClean="0"/>
              <a:t> Z Value</a:t>
            </a:r>
            <a:r>
              <a:rPr lang="ko-KR" altLang="en-US" smtClean="0"/>
              <a:t>로 표현하게 되었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r>
              <a:rPr lang="en-US" altLang="ko-KR" smtClean="0"/>
              <a:t>OIS Suppression(</a:t>
            </a:r>
            <a:r>
              <a:rPr lang="ko-KR" altLang="en-US" smtClean="0"/>
              <a:t>보정</a:t>
            </a:r>
            <a:r>
              <a:rPr lang="en-US" altLang="ko-KR" smtClean="0"/>
              <a:t>) Ratio spec</a:t>
            </a:r>
            <a:r>
              <a:rPr lang="ko-KR" altLang="en-US" smtClean="0"/>
              <a:t>도 평택 품질</a:t>
            </a:r>
            <a:r>
              <a:rPr lang="en-US" altLang="ko-KR" smtClean="0"/>
              <a:t> task </a:t>
            </a:r>
            <a:r>
              <a:rPr lang="ko-KR" altLang="en-US" smtClean="0"/>
              <a:t>멤버들과 함께 정하였습니다</a:t>
            </a:r>
            <a:r>
              <a:rPr lang="en-US" altLang="ko-KR" smtClean="0"/>
              <a:t>. </a:t>
            </a:r>
            <a:endParaRPr lang="ko-KR" altLang="en-US" smtClean="0"/>
          </a:p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Customer </a:t>
            </a:r>
            <a:r>
              <a:rPr lang="ko-KR" altLang="en-US" smtClean="0"/>
              <a:t>만족도와 의견 조사에서 </a:t>
            </a:r>
            <a:r>
              <a:rPr lang="en-US" altLang="ko-KR" smtClean="0"/>
              <a:t>Camera</a:t>
            </a:r>
            <a:r>
              <a:rPr lang="ko-KR" altLang="en-US" smtClean="0"/>
              <a:t>는 </a:t>
            </a:r>
            <a:r>
              <a:rPr lang="en-US" altLang="ko-KR" smtClean="0"/>
              <a:t>15%</a:t>
            </a:r>
            <a:r>
              <a:rPr lang="ko-KR" altLang="en-US" smtClean="0"/>
              <a:t>를 차지하고 있어</a:t>
            </a:r>
            <a:r>
              <a:rPr lang="en-US" altLang="ko-KR" smtClean="0"/>
              <a:t>, Battery Life</a:t>
            </a:r>
            <a:r>
              <a:rPr lang="ko-KR" altLang="en-US" smtClean="0"/>
              <a:t>다음으로 많은 포션을 차지하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셀프카메라의 화질 불량은 비단 카메라 모듈의 문제가 아니라 고객의 손떨림에 의한 현상일 텐데도 고객들은 우리 폰의 문제로 여기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에 손떨림 보정기능에 대한 필요성과 </a:t>
            </a:r>
            <a:r>
              <a:rPr lang="en-US" altLang="ko-KR" smtClean="0"/>
              <a:t>Needs</a:t>
            </a:r>
            <a:r>
              <a:rPr lang="ko-KR" altLang="en-US" smtClean="0"/>
              <a:t>가 발생하게 되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1229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6CB005A7-6EF7-4D9F-A5DC-943E2D19A352}" type="slidenum">
              <a:rPr lang="en-US" altLang="ko-KR" smtClean="0"/>
              <a:pPr>
                <a:spcBef>
                  <a:spcPct val="0"/>
                </a:spcBef>
              </a:pPr>
              <a:t>2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3071487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Suppression Ratio</a:t>
            </a:r>
            <a:r>
              <a:rPr lang="ko-KR" altLang="en-US" smtClean="0"/>
              <a:t>를 측정하기 위하여 가진</a:t>
            </a:r>
            <a:r>
              <a:rPr lang="en-US" altLang="ko-KR" smtClean="0"/>
              <a:t>(</a:t>
            </a:r>
            <a:r>
              <a:rPr lang="ko-KR" altLang="en-US" smtClean="0"/>
              <a:t>진동을 가하는</a:t>
            </a:r>
            <a:r>
              <a:rPr lang="en-US" altLang="ko-KR" smtClean="0"/>
              <a:t>)</a:t>
            </a:r>
            <a:r>
              <a:rPr lang="ko-KR" altLang="en-US" smtClean="0"/>
              <a:t>장비를 설계 및 개발하여 안산 시화공단에 위치한 업체에 의뢰하여 만들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 일은 생산기술연구원과 함께 진행했고</a:t>
            </a:r>
            <a:r>
              <a:rPr lang="en-US" altLang="ko-KR" smtClean="0"/>
              <a:t>, </a:t>
            </a:r>
            <a:r>
              <a:rPr lang="ko-KR" altLang="en-US" smtClean="0"/>
              <a:t>입고 되기까지 측정을 위해 시화공단으로 오가며 측정을 했던 기억이 납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그러나 이 장비가 설계되고 개발되기 전까지는 단품 레벨의 가진 장비를 가지고 측정을 했습니다</a:t>
            </a:r>
            <a:r>
              <a:rPr lang="en-US" altLang="ko-KR" smtClean="0"/>
              <a:t>. </a:t>
            </a:r>
          </a:p>
          <a:p>
            <a:endParaRPr lang="en-US" altLang="ko-KR" smtClean="0"/>
          </a:p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Suppression Ratio</a:t>
            </a:r>
            <a:r>
              <a:rPr lang="ko-KR" altLang="en-US" smtClean="0"/>
              <a:t>를 측정하기 위하여 가진</a:t>
            </a:r>
            <a:r>
              <a:rPr lang="en-US" altLang="ko-KR" smtClean="0"/>
              <a:t>(</a:t>
            </a:r>
            <a:r>
              <a:rPr lang="ko-KR" altLang="en-US" smtClean="0"/>
              <a:t>진동을 가하는</a:t>
            </a:r>
            <a:r>
              <a:rPr lang="en-US" altLang="ko-KR" smtClean="0"/>
              <a:t>)</a:t>
            </a:r>
            <a:r>
              <a:rPr lang="ko-KR" altLang="en-US" smtClean="0"/>
              <a:t>장비를 설계 및 개발하여 안산 시화공단에 위치한 업체에 의뢰하여 만들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 일은 생산기술연구원과 함께 진행했고</a:t>
            </a:r>
            <a:r>
              <a:rPr lang="en-US" altLang="ko-KR" smtClean="0"/>
              <a:t>, </a:t>
            </a:r>
            <a:r>
              <a:rPr lang="ko-KR" altLang="en-US" smtClean="0"/>
              <a:t>입고 되기까지 측정을 위해 시화공단으로 오가며 측정을 했던 기억이 납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그러나 이 장비가 설계되고 개발되기 전까지는 단품 레벨의 가진 장비를 가지고 측정을 했습니다</a:t>
            </a:r>
            <a:r>
              <a:rPr lang="en-US" altLang="ko-KR" smtClean="0"/>
              <a:t>. </a:t>
            </a:r>
          </a:p>
          <a:p>
            <a:endParaRPr lang="en-US" altLang="ko-KR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613845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Customer </a:t>
            </a:r>
            <a:r>
              <a:rPr lang="ko-KR" altLang="en-US" smtClean="0"/>
              <a:t>만족도와 의견 조사에서 </a:t>
            </a:r>
            <a:r>
              <a:rPr lang="en-US" altLang="ko-KR" smtClean="0"/>
              <a:t>Camera</a:t>
            </a:r>
            <a:r>
              <a:rPr lang="ko-KR" altLang="en-US" smtClean="0"/>
              <a:t>는 </a:t>
            </a:r>
            <a:r>
              <a:rPr lang="en-US" altLang="ko-KR" smtClean="0"/>
              <a:t>15%</a:t>
            </a:r>
            <a:r>
              <a:rPr lang="ko-KR" altLang="en-US" smtClean="0"/>
              <a:t>를 차지하고 있어</a:t>
            </a:r>
            <a:r>
              <a:rPr lang="en-US" altLang="ko-KR" smtClean="0"/>
              <a:t>, Battery Life</a:t>
            </a:r>
            <a:r>
              <a:rPr lang="ko-KR" altLang="en-US" smtClean="0"/>
              <a:t>다음으로 많은 포션을 차지하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셀프카메라의 화질 불량은 비단 카메라 모듈의 문제가 아니라 고객의 손떨림에 의한 현상일 텐데도 고객들은 우리 폰의 문제로 여기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에 손떨림 보정기능에 대한 필요성과 </a:t>
            </a:r>
            <a:r>
              <a:rPr lang="en-US" altLang="ko-KR" smtClean="0"/>
              <a:t>Needs</a:t>
            </a:r>
            <a:r>
              <a:rPr lang="ko-KR" altLang="en-US" smtClean="0"/>
              <a:t>가 발생하게 되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1229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6CB005A7-6EF7-4D9F-A5DC-943E2D19A352}" type="slidenum">
              <a:rPr lang="en-US" altLang="ko-KR" smtClean="0"/>
              <a:pPr>
                <a:spcBef>
                  <a:spcPct val="0"/>
                </a:spcBef>
              </a:pPr>
              <a:t>5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306869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H/W, S/W</a:t>
            </a:r>
            <a:r>
              <a:rPr lang="ko-KR" altLang="en-US" smtClean="0"/>
              <a:t>를 모두 개선하기 위해 </a:t>
            </a:r>
            <a:r>
              <a:rPr lang="en-US" altLang="ko-KR" smtClean="0"/>
              <a:t>MBB</a:t>
            </a:r>
            <a:r>
              <a:rPr lang="ko-KR" altLang="en-US" smtClean="0"/>
              <a:t>후보가 </a:t>
            </a:r>
            <a:r>
              <a:rPr lang="en-US" altLang="ko-KR" smtClean="0"/>
              <a:t>3</a:t>
            </a:r>
            <a:r>
              <a:rPr lang="ko-KR" altLang="en-US" smtClean="0"/>
              <a:t>명이 투입되었고</a:t>
            </a:r>
            <a:r>
              <a:rPr lang="en-US" altLang="ko-KR" smtClean="0"/>
              <a:t>, OIS</a:t>
            </a:r>
            <a:r>
              <a:rPr lang="ko-KR" altLang="en-US" smtClean="0"/>
              <a:t>의 </a:t>
            </a:r>
            <a:r>
              <a:rPr lang="en-US" altLang="ko-KR" smtClean="0"/>
              <a:t>HW</a:t>
            </a:r>
            <a:r>
              <a:rPr lang="ko-KR" altLang="en-US" smtClean="0"/>
              <a:t>부분을 총괄하여 혼자 담당하게 되었습니다</a:t>
            </a:r>
            <a:r>
              <a:rPr lang="en-US" altLang="ko-KR" smtClean="0"/>
              <a:t>. </a:t>
            </a:r>
            <a:r>
              <a:rPr lang="ko-KR" altLang="en-US" smtClean="0"/>
              <a:t>각 모델에서 향 별로 </a:t>
            </a:r>
            <a:r>
              <a:rPr lang="en-US" altLang="ko-KR" smtClean="0"/>
              <a:t>1</a:t>
            </a:r>
            <a:r>
              <a:rPr lang="ko-KR" altLang="en-US" smtClean="0"/>
              <a:t>인씩 선정되어</a:t>
            </a:r>
            <a:endParaRPr lang="en-US" altLang="ko-KR" smtClean="0"/>
          </a:p>
          <a:p>
            <a:r>
              <a:rPr lang="en-US" altLang="ko-KR" smtClean="0"/>
              <a:t>Co-work</a:t>
            </a:r>
            <a:r>
              <a:rPr lang="ko-KR" altLang="en-US" smtClean="0"/>
              <a:t>을 하며 진행할 팀원들도 구성했습니다</a:t>
            </a:r>
            <a:r>
              <a:rPr lang="en-US" altLang="ko-KR" smtClean="0"/>
              <a:t>. </a:t>
            </a:r>
            <a:r>
              <a:rPr lang="ko-KR" altLang="en-US" smtClean="0"/>
              <a:t> 선행상품연구소를 비롯 각 부서에서 카메라 담당하는 연구원들과 함께 정기적인 미팅을 갖고</a:t>
            </a:r>
            <a:r>
              <a:rPr lang="en-US" altLang="ko-KR" smtClean="0"/>
              <a:t>, </a:t>
            </a:r>
            <a:r>
              <a:rPr lang="ko-KR" altLang="en-US" smtClean="0"/>
              <a:t>연구원들에게도 </a:t>
            </a:r>
            <a:endParaRPr lang="en-US" altLang="ko-KR" smtClean="0"/>
          </a:p>
          <a:p>
            <a:r>
              <a:rPr lang="ko-KR" altLang="en-US" smtClean="0"/>
              <a:t>과제를 부여하여 개선활동을 하며 정보를 공유하기로 했습니다</a:t>
            </a:r>
            <a:r>
              <a:rPr lang="en-US" altLang="ko-KR" smtClean="0"/>
              <a:t>. </a:t>
            </a:r>
          </a:p>
          <a:p>
            <a:endParaRPr lang="en-US" altLang="ko-KR" smtClean="0"/>
          </a:p>
          <a:p>
            <a:r>
              <a:rPr lang="ko-KR" altLang="en-US" smtClean="0"/>
              <a:t>자성체에 의한 성능 저하가 예상되어 이 부분을 개선하는 쪽으로 과제를 도출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28676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188079E6-EEFD-4D40-96A0-9C56C108086B}" type="slidenum">
              <a:rPr lang="en-US" altLang="ko-KR" smtClean="0"/>
              <a:pPr>
                <a:spcBef>
                  <a:spcPct val="0"/>
                </a:spcBef>
              </a:pPr>
              <a:t>6</a:t>
            </a:fld>
            <a:endParaRPr lang="en-US" altLang="ko-KR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H/W, S/W</a:t>
            </a:r>
            <a:r>
              <a:rPr lang="ko-KR" altLang="en-US" smtClean="0"/>
              <a:t>를 모두 개선하기 위해 </a:t>
            </a:r>
            <a:r>
              <a:rPr lang="en-US" altLang="ko-KR" smtClean="0"/>
              <a:t>MBB</a:t>
            </a:r>
            <a:r>
              <a:rPr lang="ko-KR" altLang="en-US" smtClean="0"/>
              <a:t>후보가 </a:t>
            </a:r>
            <a:r>
              <a:rPr lang="en-US" altLang="ko-KR" smtClean="0"/>
              <a:t>3</a:t>
            </a:r>
            <a:r>
              <a:rPr lang="ko-KR" altLang="en-US" smtClean="0"/>
              <a:t>명이 투입되었고</a:t>
            </a:r>
            <a:r>
              <a:rPr lang="en-US" altLang="ko-KR" smtClean="0"/>
              <a:t>, OIS</a:t>
            </a:r>
            <a:r>
              <a:rPr lang="ko-KR" altLang="en-US" smtClean="0"/>
              <a:t>의 </a:t>
            </a:r>
            <a:r>
              <a:rPr lang="en-US" altLang="ko-KR" smtClean="0"/>
              <a:t>HW</a:t>
            </a:r>
            <a:r>
              <a:rPr lang="ko-KR" altLang="en-US" smtClean="0"/>
              <a:t>부분을 총괄하여 혼자 담당하게 되었습니다</a:t>
            </a:r>
            <a:r>
              <a:rPr lang="en-US" altLang="ko-KR" smtClean="0"/>
              <a:t>. </a:t>
            </a:r>
            <a:r>
              <a:rPr lang="ko-KR" altLang="en-US" smtClean="0"/>
              <a:t>각 모델에서 향 별로 </a:t>
            </a:r>
            <a:r>
              <a:rPr lang="en-US" altLang="ko-KR" smtClean="0"/>
              <a:t>1</a:t>
            </a:r>
            <a:r>
              <a:rPr lang="ko-KR" altLang="en-US" smtClean="0"/>
              <a:t>인씩 선정되어</a:t>
            </a:r>
            <a:endParaRPr lang="en-US" altLang="ko-KR" smtClean="0"/>
          </a:p>
          <a:p>
            <a:r>
              <a:rPr lang="en-US" altLang="ko-KR" smtClean="0"/>
              <a:t>Co-work</a:t>
            </a:r>
            <a:r>
              <a:rPr lang="ko-KR" altLang="en-US" smtClean="0"/>
              <a:t>을 하며 진행할 팀원들도 구성했습니다</a:t>
            </a:r>
            <a:r>
              <a:rPr lang="en-US" altLang="ko-KR" smtClean="0"/>
              <a:t>. </a:t>
            </a:r>
            <a:r>
              <a:rPr lang="ko-KR" altLang="en-US" smtClean="0"/>
              <a:t> 선행상품연구소를 비롯 각 부서에서 카메라 담당하는 연구원들과 함께 정기적인 미팅을 갖고</a:t>
            </a:r>
            <a:r>
              <a:rPr lang="en-US" altLang="ko-KR" smtClean="0"/>
              <a:t>, </a:t>
            </a:r>
            <a:r>
              <a:rPr lang="ko-KR" altLang="en-US" smtClean="0"/>
              <a:t>연구원들에게도 </a:t>
            </a:r>
            <a:endParaRPr lang="en-US" altLang="ko-KR" smtClean="0"/>
          </a:p>
          <a:p>
            <a:r>
              <a:rPr lang="ko-KR" altLang="en-US" smtClean="0"/>
              <a:t>과제를 부여하여 개선활동을 하며 정보를 공유하기로 했습니다</a:t>
            </a:r>
            <a:r>
              <a:rPr lang="en-US" altLang="ko-KR" smtClean="0"/>
              <a:t>. </a:t>
            </a:r>
          </a:p>
          <a:p>
            <a:endParaRPr lang="en-US" altLang="ko-KR" smtClean="0"/>
          </a:p>
          <a:p>
            <a:r>
              <a:rPr lang="ko-KR" altLang="en-US" smtClean="0"/>
              <a:t>자성체에 의한 성능 저하가 예상되어 이 부분을 개선하는 쪽으로 과제를 도출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28676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188079E6-EEFD-4D40-96A0-9C56C108086B}" type="slidenum">
              <a:rPr lang="en-US" altLang="ko-KR" smtClean="0"/>
              <a:pPr>
                <a:spcBef>
                  <a:spcPct val="0"/>
                </a:spcBef>
              </a:pPr>
              <a:t>7</a:t>
            </a:fld>
            <a:endParaRPr lang="en-US" altLang="ko-KR" smtClean="0"/>
          </a:p>
        </p:txBody>
      </p:sp>
    </p:spTree>
    <p:extLst>
      <p:ext uri="{BB962C8B-B14F-4D97-AF65-F5344CB8AC3E}">
        <p14:creationId xmlns:p14="http://schemas.microsoft.com/office/powerpoint/2010/main" val="2233292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Customer </a:t>
            </a:r>
            <a:r>
              <a:rPr lang="ko-KR" altLang="en-US" smtClean="0"/>
              <a:t>만족도와 의견 조사에서 </a:t>
            </a:r>
            <a:r>
              <a:rPr lang="en-US" altLang="ko-KR" smtClean="0"/>
              <a:t>Camera</a:t>
            </a:r>
            <a:r>
              <a:rPr lang="ko-KR" altLang="en-US" smtClean="0"/>
              <a:t>는 </a:t>
            </a:r>
            <a:r>
              <a:rPr lang="en-US" altLang="ko-KR" smtClean="0"/>
              <a:t>15%</a:t>
            </a:r>
            <a:r>
              <a:rPr lang="ko-KR" altLang="en-US" smtClean="0"/>
              <a:t>를 차지하고 있어</a:t>
            </a:r>
            <a:r>
              <a:rPr lang="en-US" altLang="ko-KR" smtClean="0"/>
              <a:t>, Battery Life</a:t>
            </a:r>
            <a:r>
              <a:rPr lang="ko-KR" altLang="en-US" smtClean="0"/>
              <a:t>다음으로 많은 포션을 차지하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셀프카메라의 화질 불량은 비단 카메라 모듈의 문제가 아니라 고객의 손떨림에 의한 현상일 텐데도 고객들은 우리 폰의 문제로 여기고 있습니다</a:t>
            </a:r>
            <a:r>
              <a:rPr lang="en-US" altLang="ko-KR" smtClean="0"/>
              <a:t>. </a:t>
            </a:r>
          </a:p>
          <a:p>
            <a:r>
              <a:rPr lang="ko-KR" altLang="en-US" smtClean="0"/>
              <a:t>이에 손떨림 보정기능에 대한 필요성과 </a:t>
            </a:r>
            <a:r>
              <a:rPr lang="en-US" altLang="ko-KR" smtClean="0"/>
              <a:t>Needs</a:t>
            </a:r>
            <a:r>
              <a:rPr lang="ko-KR" altLang="en-US" smtClean="0"/>
              <a:t>가 발생하게 되었습니다</a:t>
            </a:r>
            <a:r>
              <a:rPr lang="en-US" altLang="ko-KR" smtClean="0"/>
              <a:t>. </a:t>
            </a:r>
            <a:endParaRPr lang="ko-KR" altLang="en-US" smtClean="0"/>
          </a:p>
        </p:txBody>
      </p:sp>
      <p:sp>
        <p:nvSpPr>
          <p:cNvPr id="18436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>
              <a:spcBef>
                <a:spcPct val="0"/>
              </a:spcBef>
            </a:pPr>
            <a:fld id="{F9B2FCC9-1DC4-4B71-86C4-343508AF9239}" type="slidenum">
              <a:rPr lang="en-US" altLang="ko-KR" smtClean="0"/>
              <a:pPr>
                <a:spcBef>
                  <a:spcPct val="0"/>
                </a:spcBef>
              </a:pPr>
              <a:t>8</a:t>
            </a:fld>
            <a:endParaRPr lang="en-US" altLang="ko-K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ko-KR" smtClean="0"/>
              <a:t>l</a:t>
            </a:r>
            <a:r>
              <a:rPr lang="ko-KR" altLang="en-US" smtClean="0"/>
              <a:t>개선이 되었다고 무작정 적용할 수는 없었습니다</a:t>
            </a:r>
            <a:r>
              <a:rPr lang="en-US" altLang="ko-KR" smtClean="0"/>
              <a:t>. Side effect</a:t>
            </a:r>
            <a:r>
              <a:rPr lang="ko-KR" altLang="en-US" smtClean="0"/>
              <a:t>를 무시할 수 없기 때문입니다</a:t>
            </a:r>
            <a:r>
              <a:rPr lang="en-US" altLang="ko-KR" smtClean="0"/>
              <a:t>. </a:t>
            </a:r>
            <a:r>
              <a:rPr lang="ko-KR" altLang="en-US" smtClean="0"/>
              <a:t>저희가 염려했던 것은 소모전류의 증가인데</a:t>
            </a:r>
            <a:r>
              <a:rPr lang="en-US" altLang="ko-KR" smtClean="0"/>
              <a:t>, </a:t>
            </a:r>
            <a:r>
              <a:rPr lang="ko-KR" altLang="en-US" smtClean="0"/>
              <a:t>이 또한 그렇게 많은 전류를 소모하지 않는다는 결과를 실험을 통해 알게되었습니다</a:t>
            </a:r>
            <a:r>
              <a:rPr lang="en-US" altLang="ko-KR" smtClean="0"/>
              <a:t>. IC</a:t>
            </a:r>
            <a:r>
              <a:rPr lang="ko-KR" altLang="en-US" smtClean="0"/>
              <a:t>업체에 이 조합으로 입고해 줄 것을 요청하였고</a:t>
            </a:r>
            <a:r>
              <a:rPr lang="en-US" altLang="ko-KR" smtClean="0"/>
              <a:t>, OIS </a:t>
            </a:r>
            <a:r>
              <a:rPr lang="ko-KR" altLang="en-US" smtClean="0"/>
              <a:t>성능을 상당히 개선할 수 있었습니다</a:t>
            </a:r>
            <a:r>
              <a:rPr lang="en-US" altLang="ko-KR" smtClean="0"/>
              <a:t>. </a:t>
            </a:r>
            <a:r>
              <a:rPr lang="ko-KR" altLang="en-US" smtClean="0"/>
              <a:t>당시</a:t>
            </a:r>
            <a:r>
              <a:rPr lang="en-US" altLang="ko-KR" smtClean="0"/>
              <a:t> 19.27dB</a:t>
            </a:r>
            <a:r>
              <a:rPr lang="ko-KR" altLang="en-US" smtClean="0"/>
              <a:t>의 보정성능은</a:t>
            </a:r>
            <a:r>
              <a:rPr lang="en-US" altLang="ko-KR" smtClean="0"/>
              <a:t> minimum</a:t>
            </a:r>
            <a:r>
              <a:rPr lang="ko-KR" altLang="en-US" smtClean="0"/>
              <a:t>값이었습니다</a:t>
            </a:r>
            <a:r>
              <a:rPr lang="en-US" altLang="ko-KR" smtClean="0"/>
              <a:t>. </a:t>
            </a:r>
            <a:r>
              <a:rPr lang="ko-KR" altLang="en-US" smtClean="0"/>
              <a:t>이보다 작은 수치는 나오지 않았다는 의미입니다</a:t>
            </a:r>
            <a:r>
              <a:rPr lang="en-US" altLang="ko-KR" smtClean="0"/>
              <a:t>. (</a:t>
            </a:r>
            <a:r>
              <a:rPr lang="ko-KR" altLang="en-US" smtClean="0"/>
              <a:t>목표가</a:t>
            </a:r>
            <a:r>
              <a:rPr lang="en-US" altLang="ko-KR" smtClean="0"/>
              <a:t> 17dB</a:t>
            </a:r>
            <a:r>
              <a:rPr lang="ko-KR" altLang="en-US" smtClean="0"/>
              <a:t>였음을 상기</a:t>
            </a:r>
            <a:r>
              <a:rPr lang="en-US" altLang="ko-KR" smtClean="0"/>
              <a:t>)</a:t>
            </a:r>
            <a:endParaRPr lang="ko-KR" altLang="en-US" smtClean="0"/>
          </a:p>
          <a:p>
            <a:endParaRPr lang="ko-KR" altLang="en-US" smtClean="0"/>
          </a:p>
        </p:txBody>
      </p:sp>
    </p:spTree>
    <p:extLst>
      <p:ext uri="{BB962C8B-B14F-4D97-AF65-F5344CB8AC3E}">
        <p14:creationId xmlns:p14="http://schemas.microsoft.com/office/powerpoint/2010/main" val="2294454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3463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6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200025" y="188913"/>
            <a:ext cx="4267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ko-KR" smtClean="0"/>
              <a:t>Click to edit Master title style</a:t>
            </a:r>
          </a:p>
        </p:txBody>
      </p:sp>
      <p:sp>
        <p:nvSpPr>
          <p:cNvPr id="1027" name="Rectangle 27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 bwMode="auto">
          <a:xfrm>
            <a:off x="455613" y="1298575"/>
            <a:ext cx="9069387" cy="129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ko-KR" smtClean="0"/>
              <a:t>Click to edit Master text styles</a:t>
            </a:r>
          </a:p>
          <a:p>
            <a:pPr lvl="1"/>
            <a:r>
              <a:rPr lang="en-GB" altLang="ko-KR" smtClean="0"/>
              <a:t>Second level</a:t>
            </a:r>
          </a:p>
          <a:p>
            <a:pPr lvl="2"/>
            <a:r>
              <a:rPr lang="en-GB" altLang="ko-KR" smtClean="0"/>
              <a:t>Third level</a:t>
            </a:r>
          </a:p>
          <a:p>
            <a:pPr lvl="3"/>
            <a:r>
              <a:rPr lang="en-GB" altLang="ko-KR" smtClean="0"/>
              <a:t>Fourth level</a:t>
            </a:r>
          </a:p>
          <a:p>
            <a:pPr lvl="4"/>
            <a:r>
              <a:rPr lang="en-GB" altLang="ko-KR" smtClean="0"/>
              <a:t>Fifth level</a:t>
            </a:r>
          </a:p>
        </p:txBody>
      </p:sp>
      <p:grpSp>
        <p:nvGrpSpPr>
          <p:cNvPr id="1028" name="McK Slide Elements"/>
          <p:cNvGrpSpPr>
            <a:grpSpLocks/>
          </p:cNvGrpSpPr>
          <p:nvPr/>
        </p:nvGrpSpPr>
        <p:grpSpPr bwMode="auto">
          <a:xfrm>
            <a:off x="134938" y="542925"/>
            <a:ext cx="9526587" cy="6288088"/>
            <a:chOff x="77" y="335"/>
            <a:chExt cx="5429" cy="3882"/>
          </a:xfrm>
        </p:grpSpPr>
        <p:sp>
          <p:nvSpPr>
            <p:cNvPr id="103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957263" eaLnBrk="0" hangingPunct="0"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defRPr/>
              </a:pPr>
              <a:r>
                <a:rPr kumimoji="0" lang="en-GB" altLang="ko-KR" sz="1700" b="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03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614363" indent="-614363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defTabSz="957263" eaLnBrk="0" hangingPunct="0"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9913" algn="r"/>
                </a:tabLst>
                <a:defRPr kumimoji="1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eaLnBrk="1" hangingPunct="1">
                <a:defRPr/>
              </a:pPr>
              <a:r>
                <a:rPr kumimoji="0" lang="en-GB" altLang="ko-KR" sz="1300" b="0" smtClean="0">
                  <a:solidFill>
                    <a:srgbClr val="000000"/>
                  </a:solidFill>
                  <a:latin typeface="Arial" charset="0"/>
                </a:rPr>
                <a:t>	*	Footnote</a:t>
              </a: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kumimoji="0" lang="en-GB" altLang="ko-KR" sz="1300" b="0" smtClean="0">
                  <a:solidFill>
                    <a:srgbClr val="000000"/>
                  </a:solidFill>
                  <a:latin typeface="Arial" charset="0"/>
                </a:rPr>
                <a:t>Source:		Source</a:t>
              </a:r>
            </a:p>
          </p:txBody>
        </p:sp>
      </p:grp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503738" y="6584950"/>
            <a:ext cx="873125" cy="2571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latinLnBrk="1" hangingPunct="1">
              <a:defRPr sz="1100" b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>
              <a:defRPr/>
            </a:pPr>
            <a:fld id="{9FE935CB-83AB-4075-AFE0-0A4C6BF94A7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 of 48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79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나눔고딕" pitchFamily="50" charset="-127"/>
          <a:ea typeface="나눔고딕" pitchFamily="50" charset="-127"/>
          <a:cs typeface="나눔고딕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2000">
          <a:solidFill>
            <a:srgbClr val="002960"/>
          </a:solidFill>
          <a:latin typeface="HY울릉도B" pitchFamily="18" charset="-127"/>
          <a:ea typeface="HY울릉도B" pitchFamily="18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rgbClr val="000000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rgbClr val="000000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rgbClr val="000000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10" Type="http://schemas.openxmlformats.org/officeDocument/2006/relationships/image" Target="../media/image8.png"/><Relationship Id="rId4" Type="http://schemas.openxmlformats.org/officeDocument/2006/relationships/image" Target="../media/image2.jpeg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1323662" y="1455282"/>
            <a:ext cx="7258680" cy="52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8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역삼투</a:t>
            </a:r>
            <a:r>
              <a:rPr lang="en-US" altLang="ko-KR" sz="2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RO)</a:t>
            </a:r>
            <a:r>
              <a:rPr lang="ko-KR" altLang="en-US" sz="2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2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폐수 기준 </a:t>
            </a:r>
            <a:r>
              <a:rPr lang="ko-KR" altLang="en-US" sz="28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설정을 통한 </a:t>
            </a:r>
            <a:r>
              <a:rPr lang="ko-KR" altLang="en-US" sz="2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상수 비용 절감</a:t>
            </a:r>
            <a:endParaRPr lang="ko-KR" altLang="en-US" sz="2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123" name="Rectangle 2"/>
          <p:cNvSpPr>
            <a:spLocks noChangeArrowheads="1"/>
          </p:cNvSpPr>
          <p:nvPr/>
        </p:nvSpPr>
        <p:spPr bwMode="auto">
          <a:xfrm>
            <a:off x="4208463" y="5137150"/>
            <a:ext cx="14890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생명과학본부</a:t>
            </a:r>
            <a:endParaRPr lang="en-US" altLang="ko-KR" sz="1800" u="sng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GMP 6</a:t>
            </a: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시그마</a:t>
            </a:r>
          </a:p>
        </p:txBody>
      </p:sp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4478338" y="4575175"/>
            <a:ext cx="9493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1" tIns="45710" rIns="91421" bIns="45710" anchor="ctr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2020</a:t>
            </a:r>
            <a:r>
              <a:rPr lang="ko-KR" altLang="en-US" sz="1800" u="sng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년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29699" name="그룹 19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29707" name="AutoShape 4"/>
            <p:cNvSpPr>
              <a:spLocks noChangeArrowheads="1"/>
            </p:cNvSpPr>
            <p:nvPr/>
          </p:nvSpPr>
          <p:spPr bwMode="auto">
            <a:xfrm>
              <a:off x="9169400" y="204769"/>
              <a:ext cx="392113" cy="246080"/>
            </a:xfrm>
            <a:prstGeom prst="homePlate">
              <a:avLst>
                <a:gd name="adj" fmla="val 216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08" name="AutoShape 6"/>
            <p:cNvSpPr>
              <a:spLocks noChangeArrowheads="1"/>
            </p:cNvSpPr>
            <p:nvPr/>
          </p:nvSpPr>
          <p:spPr bwMode="auto">
            <a:xfrm>
              <a:off x="8842375" y="142852"/>
              <a:ext cx="392113" cy="246081"/>
            </a:xfrm>
            <a:prstGeom prst="homePlate">
              <a:avLst>
                <a:gd name="adj" fmla="val 21268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09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10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11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71" name="Text Box 4"/>
          <p:cNvSpPr txBox="1">
            <a:spLocks noChangeArrowheads="1"/>
          </p:cNvSpPr>
          <p:nvPr/>
        </p:nvSpPr>
        <p:spPr bwMode="auto">
          <a:xfrm>
            <a:off x="57150" y="76200"/>
            <a:ext cx="2677336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검증 데이터 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Summary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8" name="오른쪽 화살표 17"/>
          <p:cNvSpPr/>
          <p:nvPr/>
        </p:nvSpPr>
        <p:spPr>
          <a:xfrm rot="5400000">
            <a:off x="4207768" y="4185287"/>
            <a:ext cx="2731259" cy="220663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9" name="Freeform 117"/>
          <p:cNvSpPr>
            <a:spLocks/>
          </p:cNvSpPr>
          <p:nvPr/>
        </p:nvSpPr>
        <p:spPr bwMode="auto">
          <a:xfrm flipV="1">
            <a:off x="2221209" y="2922370"/>
            <a:ext cx="3163839" cy="455318"/>
          </a:xfrm>
          <a:custGeom>
            <a:avLst/>
            <a:gdLst>
              <a:gd name="T0" fmla="*/ 3198374 w 10000"/>
              <a:gd name="T1" fmla="*/ 299833 h 10000"/>
              <a:gd name="T2" fmla="*/ 3204784 w 10000"/>
              <a:gd name="T3" fmla="*/ 0 h 10000"/>
              <a:gd name="T4" fmla="*/ 0 w 10000"/>
              <a:gd name="T5" fmla="*/ 28243 h 10000"/>
              <a:gd name="T6" fmla="*/ 5769 w 10000"/>
              <a:gd name="T7" fmla="*/ 315913 h 10000"/>
              <a:gd name="T8" fmla="*/ 0 60000 65536"/>
              <a:gd name="T9" fmla="*/ 0 60000 65536"/>
              <a:gd name="T10" fmla="*/ 0 60000 65536"/>
              <a:gd name="T11" fmla="*/ 0 60000 65536"/>
              <a:gd name="connsiteX0" fmla="*/ 9965 w 9985"/>
              <a:gd name="connsiteY0" fmla="*/ 9491 h 10000"/>
              <a:gd name="connsiteX1" fmla="*/ 9985 w 9985"/>
              <a:gd name="connsiteY1" fmla="*/ 0 h 10000"/>
              <a:gd name="connsiteX2" fmla="*/ 35 w 9985"/>
              <a:gd name="connsiteY2" fmla="*/ 249 h 10000"/>
              <a:gd name="connsiteX3" fmla="*/ 3 w 9985"/>
              <a:gd name="connsiteY3" fmla="*/ 10000 h 10000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249 h 10000"/>
              <a:gd name="connsiteX3" fmla="*/ 3 w 10000"/>
              <a:gd name="connsiteY3" fmla="*/ 10000 h 10000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132 h 10000"/>
              <a:gd name="connsiteX3" fmla="*/ 3 w 10000"/>
              <a:gd name="connsiteY3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9980" y="9491"/>
                </a:moveTo>
                <a:cubicBezTo>
                  <a:pt x="10006" y="6243"/>
                  <a:pt x="9974" y="3248"/>
                  <a:pt x="10000" y="0"/>
                </a:cubicBezTo>
                <a:lnTo>
                  <a:pt x="35" y="132"/>
                </a:lnTo>
                <a:cubicBezTo>
                  <a:pt x="48" y="3082"/>
                  <a:pt x="-12" y="7049"/>
                  <a:pt x="3" y="10000"/>
                </a:cubicBezTo>
              </a:path>
            </a:pathLst>
          </a:custGeom>
          <a:noFill/>
          <a:ln w="22225" cap="flat" cmpd="sng">
            <a:solidFill>
              <a:srgbClr val="0000FF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22" name="TextBox 36"/>
          <p:cNvSpPr txBox="1">
            <a:spLocks noChangeArrowheads="1"/>
          </p:cNvSpPr>
          <p:nvPr/>
        </p:nvSpPr>
        <p:spPr bwMode="auto">
          <a:xfrm>
            <a:off x="2504728" y="3396747"/>
            <a:ext cx="2716106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후 낮은 전도도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53.4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하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용수는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수로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재사용됨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3" name="그림 4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63" r="21545" b="10254"/>
          <a:stretch>
            <a:fillRect/>
          </a:stretch>
        </p:blipFill>
        <p:spPr bwMode="auto">
          <a:xfrm>
            <a:off x="4936157" y="1878013"/>
            <a:ext cx="803275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93" descr="tank_vent fil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7621016" y="1914525"/>
            <a:ext cx="50323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93" descr="tank_vent fil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1860649" y="1836738"/>
            <a:ext cx="503237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36"/>
          <p:cNvSpPr txBox="1">
            <a:spLocks noChangeArrowheads="1"/>
          </p:cNvSpPr>
          <p:nvPr/>
        </p:nvSpPr>
        <p:spPr bwMode="auto">
          <a:xfrm>
            <a:off x="1838638" y="2552700"/>
            <a:ext cx="637012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  <a:b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9Ton/h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7" name="오른쪽 화살표 26"/>
          <p:cNvSpPr/>
          <p:nvPr/>
        </p:nvSpPr>
        <p:spPr>
          <a:xfrm>
            <a:off x="2448718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TextBox 36"/>
          <p:cNvSpPr txBox="1">
            <a:spLocks noChangeArrowheads="1"/>
          </p:cNvSpPr>
          <p:nvPr/>
        </p:nvSpPr>
        <p:spPr bwMode="auto">
          <a:xfrm>
            <a:off x="2896616" y="2708275"/>
            <a:ext cx="4889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9" name="오른쪽 화살표 28"/>
          <p:cNvSpPr/>
          <p:nvPr/>
        </p:nvSpPr>
        <p:spPr>
          <a:xfrm>
            <a:off x="3528838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TextBox 36"/>
          <p:cNvSpPr txBox="1">
            <a:spLocks noChangeArrowheads="1"/>
          </p:cNvSpPr>
          <p:nvPr/>
        </p:nvSpPr>
        <p:spPr bwMode="auto">
          <a:xfrm>
            <a:off x="3613422" y="2552700"/>
            <a:ext cx="100488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oftened Water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</a:p>
        </p:txBody>
      </p:sp>
      <p:sp>
        <p:nvSpPr>
          <p:cNvPr id="31" name="오른쪽 화살표 30"/>
          <p:cNvSpPr/>
          <p:nvPr/>
        </p:nvSpPr>
        <p:spPr>
          <a:xfrm>
            <a:off x="4536950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TextBox 36"/>
          <p:cNvSpPr txBox="1">
            <a:spLocks noChangeArrowheads="1"/>
          </p:cNvSpPr>
          <p:nvPr/>
        </p:nvSpPr>
        <p:spPr bwMode="auto">
          <a:xfrm>
            <a:off x="4704382" y="2564904"/>
            <a:ext cx="1331912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삼투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RO, Reverse Osmosis)</a:t>
            </a:r>
          </a:p>
        </p:txBody>
      </p:sp>
      <p:sp>
        <p:nvSpPr>
          <p:cNvPr id="33" name="오른쪽 화살표 32"/>
          <p:cNvSpPr/>
          <p:nvPr/>
        </p:nvSpPr>
        <p:spPr>
          <a:xfrm>
            <a:off x="5870124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4" name="TextBox 36"/>
          <p:cNvSpPr txBox="1">
            <a:spLocks noChangeArrowheads="1"/>
          </p:cNvSpPr>
          <p:nvPr/>
        </p:nvSpPr>
        <p:spPr bwMode="auto">
          <a:xfrm>
            <a:off x="5963666" y="2547938"/>
            <a:ext cx="15716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기탈이온장치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EDI, Electro De-Ionization)</a:t>
            </a:r>
          </a:p>
        </p:txBody>
      </p:sp>
      <p:sp>
        <p:nvSpPr>
          <p:cNvPr id="35" name="오른쪽 화살표 34"/>
          <p:cNvSpPr/>
          <p:nvPr/>
        </p:nvSpPr>
        <p:spPr>
          <a:xfrm>
            <a:off x="7405116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6" name="TextBox 36"/>
          <p:cNvSpPr txBox="1">
            <a:spLocks noChangeArrowheads="1"/>
          </p:cNvSpPr>
          <p:nvPr/>
        </p:nvSpPr>
        <p:spPr bwMode="auto">
          <a:xfrm>
            <a:off x="7648028" y="2605088"/>
            <a:ext cx="600142" cy="51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torag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  <a:b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Ton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7" name="TextBox 36"/>
          <p:cNvSpPr txBox="1">
            <a:spLocks noChangeArrowheads="1"/>
          </p:cNvSpPr>
          <p:nvPr/>
        </p:nvSpPr>
        <p:spPr bwMode="auto">
          <a:xfrm>
            <a:off x="4483868" y="1675408"/>
            <a:ext cx="5207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②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8" name="TextBox 36"/>
          <p:cNvSpPr txBox="1">
            <a:spLocks noChangeArrowheads="1"/>
          </p:cNvSpPr>
          <p:nvPr/>
        </p:nvSpPr>
        <p:spPr bwMode="auto">
          <a:xfrm>
            <a:off x="1555700" y="1689373"/>
            <a:ext cx="5207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①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9" name="Picture 93" descr="tank_vent fil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3804864" y="1844675"/>
            <a:ext cx="50323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그림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3" b="52242"/>
          <a:stretch>
            <a:fillRect/>
          </a:stretch>
        </p:blipFill>
        <p:spPr bwMode="auto">
          <a:xfrm>
            <a:off x="6179566" y="1912938"/>
            <a:ext cx="1033463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36"/>
          <p:cNvSpPr txBox="1">
            <a:spLocks noChangeArrowheads="1"/>
          </p:cNvSpPr>
          <p:nvPr/>
        </p:nvSpPr>
        <p:spPr bwMode="auto">
          <a:xfrm>
            <a:off x="4384632" y="1503835"/>
            <a:ext cx="715558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6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42" name="TextBox 36"/>
          <p:cNvSpPr txBox="1">
            <a:spLocks noChangeArrowheads="1"/>
          </p:cNvSpPr>
          <p:nvPr/>
        </p:nvSpPr>
        <p:spPr bwMode="auto">
          <a:xfrm>
            <a:off x="5638526" y="1503835"/>
            <a:ext cx="70485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.5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43" name="TextBox 36"/>
          <p:cNvSpPr txBox="1">
            <a:spLocks noChangeArrowheads="1"/>
          </p:cNvSpPr>
          <p:nvPr/>
        </p:nvSpPr>
        <p:spPr bwMode="auto">
          <a:xfrm>
            <a:off x="7044406" y="1503835"/>
            <a:ext cx="778075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05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44" name="TextBox 36"/>
          <p:cNvSpPr txBox="1">
            <a:spLocks noChangeArrowheads="1"/>
          </p:cNvSpPr>
          <p:nvPr/>
        </p:nvSpPr>
        <p:spPr bwMode="auto">
          <a:xfrm>
            <a:off x="1512490" y="1503835"/>
            <a:ext cx="68262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8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45" name="오른쪽 화살표 44"/>
          <p:cNvSpPr/>
          <p:nvPr/>
        </p:nvSpPr>
        <p:spPr>
          <a:xfrm>
            <a:off x="1619953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6" name="그림 5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45" y="1960563"/>
            <a:ext cx="846137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Box 36"/>
          <p:cNvSpPr txBox="1">
            <a:spLocks noChangeArrowheads="1"/>
          </p:cNvSpPr>
          <p:nvPr/>
        </p:nvSpPr>
        <p:spPr bwMode="auto">
          <a:xfrm>
            <a:off x="570482" y="2552700"/>
            <a:ext cx="82391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City Water)</a:t>
            </a:r>
          </a:p>
        </p:txBody>
      </p:sp>
      <p:pic>
        <p:nvPicPr>
          <p:cNvPr id="48" name="그림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318" y="1749425"/>
            <a:ext cx="674688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오른쪽 화살표 48"/>
          <p:cNvSpPr/>
          <p:nvPr/>
        </p:nvSpPr>
        <p:spPr>
          <a:xfrm>
            <a:off x="8229029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50" name="그림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6054" y="1949450"/>
            <a:ext cx="9334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36"/>
          <p:cNvSpPr txBox="1">
            <a:spLocks noChangeArrowheads="1"/>
          </p:cNvSpPr>
          <p:nvPr/>
        </p:nvSpPr>
        <p:spPr bwMode="auto">
          <a:xfrm>
            <a:off x="8700516" y="2632075"/>
            <a:ext cx="6238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r>
              <a:rPr lang="en-US" altLang="ko-KR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급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52" name="그림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824" y="4208557"/>
            <a:ext cx="759114" cy="505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TextBox 36"/>
          <p:cNvSpPr txBox="1">
            <a:spLocks noChangeArrowheads="1"/>
          </p:cNvSpPr>
          <p:nvPr/>
        </p:nvSpPr>
        <p:spPr bwMode="auto">
          <a:xfrm>
            <a:off x="3656856" y="4713671"/>
            <a:ext cx="1848881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후 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53.4 </a:t>
            </a:r>
            <a:r>
              <a:rPr lang="el-GR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높은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의 </a:t>
            </a:r>
            <a:r>
              <a:rPr lang="ko-KR" altLang="en-US" sz="9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농축수는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폐수 처리됨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4" name="TextBox 36"/>
          <p:cNvSpPr txBox="1">
            <a:spLocks noChangeArrowheads="1"/>
          </p:cNvSpPr>
          <p:nvPr/>
        </p:nvSpPr>
        <p:spPr bwMode="auto">
          <a:xfrm>
            <a:off x="5694857" y="1673250"/>
            <a:ext cx="521594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③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5" name="TextBox 36"/>
          <p:cNvSpPr txBox="1">
            <a:spLocks noChangeArrowheads="1"/>
          </p:cNvSpPr>
          <p:nvPr/>
        </p:nvSpPr>
        <p:spPr bwMode="auto">
          <a:xfrm>
            <a:off x="7143542" y="1673207"/>
            <a:ext cx="521595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④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6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후 낮은 전도도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453.4 </a:t>
            </a:r>
            <a:r>
              <a:rPr lang="en-US" altLang="ko-KR" sz="16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S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cm </a:t>
            </a: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하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수는 </a:t>
            </a: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수로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재사용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094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31747" name="그룹 65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31749" name="AutoShape 4"/>
            <p:cNvSpPr>
              <a:spLocks noChangeArrowheads="1"/>
            </p:cNvSpPr>
            <p:nvPr/>
          </p:nvSpPr>
          <p:spPr bwMode="auto">
            <a:xfrm>
              <a:off x="9169400" y="142852"/>
              <a:ext cx="392113" cy="246081"/>
            </a:xfrm>
            <a:prstGeom prst="homePlate">
              <a:avLst>
                <a:gd name="adj" fmla="val 2164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0" name="AutoShape 6"/>
            <p:cNvSpPr>
              <a:spLocks noChangeArrowheads="1"/>
            </p:cNvSpPr>
            <p:nvPr/>
          </p:nvSpPr>
          <p:spPr bwMode="auto">
            <a:xfrm>
              <a:off x="8842375" y="214295"/>
              <a:ext cx="392113" cy="246080"/>
            </a:xfrm>
            <a:prstGeom prst="homePlate">
              <a:avLst>
                <a:gd name="adj" fmla="val 21268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1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 dirty="0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 dirty="0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2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3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1141659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관리도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10" name="TextBox 30"/>
          <p:cNvSpPr txBox="1">
            <a:spLocks noChangeArrowheads="1"/>
          </p:cNvSpPr>
          <p:nvPr/>
        </p:nvSpPr>
        <p:spPr bwMode="auto">
          <a:xfrm>
            <a:off x="6609184" y="1066800"/>
            <a:ext cx="1712626" cy="353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선 후 관리도 </a:t>
            </a:r>
            <a:r>
              <a:rPr lang="en-US" altLang="ko-KR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예정</a:t>
            </a:r>
            <a:r>
              <a:rPr lang="en-US" altLang="ko-KR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en-US" altLang="ko-KR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5202238" y="1409700"/>
            <a:ext cx="41751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>
            <a:off x="488950" y="1409700"/>
            <a:ext cx="4176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35"/>
          <p:cNvSpPr txBox="1">
            <a:spLocks noChangeArrowheads="1"/>
          </p:cNvSpPr>
          <p:nvPr/>
        </p:nvSpPr>
        <p:spPr bwMode="auto">
          <a:xfrm>
            <a:off x="2068845" y="1060450"/>
            <a:ext cx="1016923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재 관리도</a:t>
            </a:r>
            <a:endParaRPr lang="en-US" altLang="ko-KR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설정된 전도도 기준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</a:t>
            </a:r>
            <a:r>
              <a:rPr lang="el-GR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453.4 </a:t>
            </a:r>
            <a:r>
              <a:rPr lang="el-GR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μ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S/cm)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이 적절한지 </a:t>
            </a:r>
            <a:r>
              <a:rPr lang="ko-KR" altLang="en-US" sz="16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관리도를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통해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확인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6" name="Text Box 359"/>
          <p:cNvSpPr txBox="1">
            <a:spLocks noChangeArrowheads="1"/>
          </p:cNvSpPr>
          <p:nvPr/>
        </p:nvSpPr>
        <p:spPr bwMode="auto">
          <a:xfrm>
            <a:off x="920750" y="1557338"/>
            <a:ext cx="3744913" cy="208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관리도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Data : 12779 (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치 제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UCL = 526</a:t>
            </a:r>
            <a:r>
              <a:rPr lang="el-GR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LCL = 471</a:t>
            </a:r>
            <a:r>
              <a:rPr lang="el-GR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m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*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정된 전도도 기준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53.4</a:t>
            </a:r>
            <a:r>
              <a:rPr lang="el-GR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μ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CL (471</a:t>
            </a:r>
            <a:r>
              <a:rPr lang="el-GR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)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보다 낮으므로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기준 설정 적절하다고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판단됨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Text Box 359"/>
          <p:cNvSpPr txBox="1">
            <a:spLocks noChangeArrowheads="1"/>
          </p:cNvSpPr>
          <p:nvPr/>
        </p:nvSpPr>
        <p:spPr bwMode="auto">
          <a:xfrm>
            <a:off x="5600700" y="1557338"/>
            <a:ext cx="3776663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후속 과제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# Date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별로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를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Group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화하여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X-bar R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석 예정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&gt; j &lt;- with(</a:t>
            </a:r>
            <a:r>
              <a:rPr lang="en-US" altLang="ko-KR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,qcc.groups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en-US" altLang="ko-KR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e,RO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)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269" y="3906128"/>
            <a:ext cx="4257747" cy="2341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1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31747" name="그룹 65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31749" name="AutoShape 4"/>
            <p:cNvSpPr>
              <a:spLocks noChangeArrowheads="1"/>
            </p:cNvSpPr>
            <p:nvPr/>
          </p:nvSpPr>
          <p:spPr bwMode="auto">
            <a:xfrm>
              <a:off x="9169400" y="142852"/>
              <a:ext cx="392113" cy="246081"/>
            </a:xfrm>
            <a:prstGeom prst="homePlate">
              <a:avLst>
                <a:gd name="adj" fmla="val 2164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0" name="AutoShape 6"/>
            <p:cNvSpPr>
              <a:spLocks noChangeArrowheads="1"/>
            </p:cNvSpPr>
            <p:nvPr/>
          </p:nvSpPr>
          <p:spPr bwMode="auto">
            <a:xfrm>
              <a:off x="8842375" y="214295"/>
              <a:ext cx="392113" cy="246080"/>
            </a:xfrm>
            <a:prstGeom prst="homePlate">
              <a:avLst>
                <a:gd name="adj" fmla="val 21268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1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 dirty="0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 dirty="0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2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31753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917575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C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성과</a:t>
            </a:r>
          </a:p>
        </p:txBody>
      </p:sp>
      <p:sp>
        <p:nvSpPr>
          <p:cNvPr id="10" name="TextBox 30"/>
          <p:cNvSpPr txBox="1">
            <a:spLocks noChangeArrowheads="1"/>
          </p:cNvSpPr>
          <p:nvPr/>
        </p:nvSpPr>
        <p:spPr bwMode="auto">
          <a:xfrm>
            <a:off x="6781800" y="1066800"/>
            <a:ext cx="10160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성적 성과</a:t>
            </a:r>
            <a:endParaRPr lang="en-US" altLang="ko-KR" sz="14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5202238" y="1409700"/>
            <a:ext cx="41751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/>
        </p:nvCxnSpPr>
        <p:spPr>
          <a:xfrm>
            <a:off x="488950" y="1409700"/>
            <a:ext cx="41767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35"/>
          <p:cNvSpPr txBox="1">
            <a:spLocks noChangeArrowheads="1"/>
          </p:cNvSpPr>
          <p:nvPr/>
        </p:nvSpPr>
        <p:spPr bwMode="auto">
          <a:xfrm>
            <a:off x="2068513" y="1060450"/>
            <a:ext cx="1017587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정량적 성과</a:t>
            </a:r>
            <a:endParaRPr lang="en-US" altLang="ko-KR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49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역삼투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(RO) 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후 폐기되는 용수를 회수하여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유틸리티 비용 </a:t>
            </a:r>
            <a:r>
              <a:rPr lang="en-US" altLang="ko-KR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0% </a:t>
            </a:r>
            <a:r>
              <a:rPr lang="ko-KR" altLang="en-US" sz="16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이상 절감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6" name="Text Box 359"/>
          <p:cNvSpPr txBox="1">
            <a:spLocks noChangeArrowheads="1"/>
          </p:cNvSpPr>
          <p:nvPr/>
        </p:nvSpPr>
        <p:spPr bwMode="auto">
          <a:xfrm>
            <a:off x="920750" y="1557338"/>
            <a:ext cx="3744913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틸리티 비용 절감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43</a:t>
            </a:r>
            <a:r>
              <a:rPr lang="ko-KR" altLang="en-US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원 절감</a:t>
            </a:r>
            <a:r>
              <a:rPr lang="en-US" altLang="ko-KR" sz="1000" b="0" u="sng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!!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간당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9Ton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씩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 공급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선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RO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후 </a:t>
            </a:r>
            <a:r>
              <a:rPr lang="en-US" altLang="ko-KR" sz="10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53.4 </a:t>
            </a:r>
            <a:r>
              <a:rPr lang="en-US" altLang="ko-KR" sz="1000" b="0" dirty="0" err="1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S</a:t>
            </a:r>
            <a:r>
              <a:rPr lang="en-US" altLang="ko-KR" sz="10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cm </a:t>
            </a:r>
            <a:r>
              <a:rPr lang="ko-KR" altLang="en-US" sz="10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하의 낮은 전도도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용수는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 공정에 </a:t>
            </a:r>
            <a:r>
              <a:rPr lang="ko-KR" altLang="en-US" sz="10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사용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됨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PI </a:t>
            </a:r>
            <a:r>
              <a:rPr lang="ko-KR" altLang="en-US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달성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존 목표치인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%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초과하여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0%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절감함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7" name="Text Box 359"/>
          <p:cNvSpPr txBox="1">
            <a:spLocks noChangeArrowheads="1"/>
          </p:cNvSpPr>
          <p:nvPr/>
        </p:nvSpPr>
        <p:spPr bwMode="auto">
          <a:xfrm>
            <a:off x="5600700" y="1557338"/>
            <a:ext cx="3776663" cy="817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대 전파</a:t>
            </a: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빅 데이터에 기반한 동일한 테마의 과제를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오송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온산에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확대 적용할 수 있음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0" name="Text Box 372"/>
          <p:cNvSpPr txBox="1">
            <a:spLocks noChangeArrowheads="1"/>
          </p:cNvSpPr>
          <p:nvPr/>
        </p:nvSpPr>
        <p:spPr bwMode="auto">
          <a:xfrm>
            <a:off x="3297833" y="5031903"/>
            <a:ext cx="6286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 수준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Line 375"/>
          <p:cNvSpPr>
            <a:spLocks noChangeShapeType="1"/>
          </p:cNvSpPr>
          <p:nvPr/>
        </p:nvSpPr>
        <p:spPr bwMode="auto">
          <a:xfrm>
            <a:off x="3353395" y="5017616"/>
            <a:ext cx="1289050" cy="1587"/>
          </a:xfrm>
          <a:prstGeom prst="line">
            <a:avLst/>
          </a:prstGeom>
          <a:noFill/>
          <a:ln w="38100">
            <a:solidFill>
              <a:sysClr val="window" lastClr="FFFFFF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2" name="Rectangle 370"/>
          <p:cNvSpPr>
            <a:spLocks noChangeArrowheads="1"/>
          </p:cNvSpPr>
          <p:nvPr/>
        </p:nvSpPr>
        <p:spPr bwMode="auto">
          <a:xfrm>
            <a:off x="3385145" y="3882553"/>
            <a:ext cx="447675" cy="112871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3" name="Rectangle 371"/>
          <p:cNvSpPr>
            <a:spLocks noChangeArrowheads="1"/>
          </p:cNvSpPr>
          <p:nvPr/>
        </p:nvSpPr>
        <p:spPr bwMode="auto">
          <a:xfrm>
            <a:off x="4139208" y="4231135"/>
            <a:ext cx="447675" cy="78330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4" name="Line 38"/>
          <p:cNvSpPr>
            <a:spLocks noChangeShapeType="1"/>
          </p:cNvSpPr>
          <p:nvPr/>
        </p:nvSpPr>
        <p:spPr bwMode="auto">
          <a:xfrm flipV="1">
            <a:off x="3224808" y="5023966"/>
            <a:ext cx="1525587" cy="0"/>
          </a:xfrm>
          <a:prstGeom prst="line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5" name="Text Box 372"/>
          <p:cNvSpPr txBox="1">
            <a:spLocks noChangeArrowheads="1"/>
          </p:cNvSpPr>
          <p:nvPr/>
        </p:nvSpPr>
        <p:spPr bwMode="auto">
          <a:xfrm>
            <a:off x="4058245" y="5041428"/>
            <a:ext cx="628650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6" name="Freeform 379"/>
          <p:cNvSpPr>
            <a:spLocks noChangeAspect="1"/>
          </p:cNvSpPr>
          <p:nvPr/>
        </p:nvSpPr>
        <p:spPr bwMode="auto">
          <a:xfrm rot="4122523">
            <a:off x="3883273" y="3875125"/>
            <a:ext cx="377825" cy="249237"/>
          </a:xfrm>
          <a:custGeom>
            <a:avLst/>
            <a:gdLst>
              <a:gd name="T0" fmla="*/ 2147483647 w 1006"/>
              <a:gd name="T1" fmla="*/ 2147483647 h 1032"/>
              <a:gd name="T2" fmla="*/ 2147483647 w 1006"/>
              <a:gd name="T3" fmla="*/ 0 h 1032"/>
              <a:gd name="T4" fmla="*/ 2147483647 w 1006"/>
              <a:gd name="T5" fmla="*/ 2147483647 h 1032"/>
              <a:gd name="T6" fmla="*/ 2147483647 w 1006"/>
              <a:gd name="T7" fmla="*/ 2147483647 h 1032"/>
              <a:gd name="T8" fmla="*/ 2147483647 w 1006"/>
              <a:gd name="T9" fmla="*/ 2147483647 h 1032"/>
              <a:gd name="T10" fmla="*/ 2147483647 w 1006"/>
              <a:gd name="T11" fmla="*/ 2147483647 h 1032"/>
              <a:gd name="T12" fmla="*/ 2147483647 w 1006"/>
              <a:gd name="T13" fmla="*/ 2147483647 h 1032"/>
              <a:gd name="T14" fmla="*/ 2147483647 w 1006"/>
              <a:gd name="T15" fmla="*/ 2147483647 h 1032"/>
              <a:gd name="T16" fmla="*/ 2147483647 w 1006"/>
              <a:gd name="T17" fmla="*/ 2147483647 h 1032"/>
              <a:gd name="T18" fmla="*/ 2147483647 w 1006"/>
              <a:gd name="T19" fmla="*/ 2147483647 h 1032"/>
              <a:gd name="T20" fmla="*/ 2147483647 w 1006"/>
              <a:gd name="T21" fmla="*/ 2147483647 h 1032"/>
              <a:gd name="T22" fmla="*/ 2147483647 w 1006"/>
              <a:gd name="T23" fmla="*/ 2147483647 h 1032"/>
              <a:gd name="T24" fmla="*/ 2147483647 w 1006"/>
              <a:gd name="T25" fmla="*/ 2147483647 h 1032"/>
              <a:gd name="T26" fmla="*/ 2147483647 w 1006"/>
              <a:gd name="T27" fmla="*/ 2147483647 h 1032"/>
              <a:gd name="T28" fmla="*/ 2147483647 w 1006"/>
              <a:gd name="T29" fmla="*/ 2147483647 h 1032"/>
              <a:gd name="T30" fmla="*/ 2147483647 w 1006"/>
              <a:gd name="T31" fmla="*/ 2147483647 h 1032"/>
              <a:gd name="T32" fmla="*/ 2147483647 w 1006"/>
              <a:gd name="T33" fmla="*/ 2147483647 h 1032"/>
              <a:gd name="T34" fmla="*/ 0 w 1006"/>
              <a:gd name="T35" fmla="*/ 2147483647 h 1032"/>
              <a:gd name="T36" fmla="*/ 2147483647 w 1006"/>
              <a:gd name="T37" fmla="*/ 2147483647 h 1032"/>
              <a:gd name="T38" fmla="*/ 2147483647 w 1006"/>
              <a:gd name="T39" fmla="*/ 2147483647 h 1032"/>
              <a:gd name="T40" fmla="*/ 2147483647 w 1006"/>
              <a:gd name="T41" fmla="*/ 2147483647 h 1032"/>
              <a:gd name="T42" fmla="*/ 2147483647 w 1006"/>
              <a:gd name="T43" fmla="*/ 2147483647 h 1032"/>
              <a:gd name="T44" fmla="*/ 2147483647 w 1006"/>
              <a:gd name="T45" fmla="*/ 2147483647 h 1032"/>
              <a:gd name="T46" fmla="*/ 2147483647 w 1006"/>
              <a:gd name="T47" fmla="*/ 2147483647 h 1032"/>
              <a:gd name="T48" fmla="*/ 2147483647 w 1006"/>
              <a:gd name="T49" fmla="*/ 2147483647 h 1032"/>
              <a:gd name="T50" fmla="*/ 2147483647 w 1006"/>
              <a:gd name="T51" fmla="*/ 2147483647 h 1032"/>
              <a:gd name="T52" fmla="*/ 2147483647 w 1006"/>
              <a:gd name="T53" fmla="*/ 2147483647 h 1032"/>
              <a:gd name="T54" fmla="*/ 2147483647 w 1006"/>
              <a:gd name="T55" fmla="*/ 2147483647 h 1032"/>
              <a:gd name="T56" fmla="*/ 2147483647 w 1006"/>
              <a:gd name="T57" fmla="*/ 2147483647 h 1032"/>
              <a:gd name="T58" fmla="*/ 2147483647 w 1006"/>
              <a:gd name="T59" fmla="*/ 2147483647 h 1032"/>
              <a:gd name="T60" fmla="*/ 2147483647 w 1006"/>
              <a:gd name="T61" fmla="*/ 2147483647 h 1032"/>
              <a:gd name="T62" fmla="*/ 2147483647 w 1006"/>
              <a:gd name="T63" fmla="*/ 2147483647 h 103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6"/>
              <a:gd name="T97" fmla="*/ 0 h 1032"/>
              <a:gd name="T98" fmla="*/ 1006 w 1006"/>
              <a:gd name="T99" fmla="*/ 1032 h 103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6" h="1032">
                <a:moveTo>
                  <a:pt x="824" y="289"/>
                </a:moveTo>
                <a:lnTo>
                  <a:pt x="824" y="350"/>
                </a:lnTo>
                <a:lnTo>
                  <a:pt x="1005" y="194"/>
                </a:lnTo>
                <a:lnTo>
                  <a:pt x="841" y="0"/>
                </a:lnTo>
                <a:lnTo>
                  <a:pt x="837" y="62"/>
                </a:lnTo>
                <a:lnTo>
                  <a:pt x="803" y="53"/>
                </a:lnTo>
                <a:lnTo>
                  <a:pt x="765" y="56"/>
                </a:lnTo>
                <a:lnTo>
                  <a:pt x="735" y="62"/>
                </a:lnTo>
                <a:lnTo>
                  <a:pt x="705" y="65"/>
                </a:lnTo>
                <a:lnTo>
                  <a:pt x="670" y="70"/>
                </a:lnTo>
                <a:lnTo>
                  <a:pt x="634" y="80"/>
                </a:lnTo>
                <a:lnTo>
                  <a:pt x="597" y="93"/>
                </a:lnTo>
                <a:lnTo>
                  <a:pt x="568" y="103"/>
                </a:lnTo>
                <a:lnTo>
                  <a:pt x="533" y="118"/>
                </a:lnTo>
                <a:lnTo>
                  <a:pt x="498" y="133"/>
                </a:lnTo>
                <a:lnTo>
                  <a:pt x="474" y="151"/>
                </a:lnTo>
                <a:lnTo>
                  <a:pt x="444" y="166"/>
                </a:lnTo>
                <a:lnTo>
                  <a:pt x="417" y="188"/>
                </a:lnTo>
                <a:lnTo>
                  <a:pt x="386" y="216"/>
                </a:lnTo>
                <a:lnTo>
                  <a:pt x="355" y="243"/>
                </a:lnTo>
                <a:lnTo>
                  <a:pt x="318" y="286"/>
                </a:lnTo>
                <a:lnTo>
                  <a:pt x="281" y="328"/>
                </a:lnTo>
                <a:lnTo>
                  <a:pt x="250" y="367"/>
                </a:lnTo>
                <a:lnTo>
                  <a:pt x="224" y="404"/>
                </a:lnTo>
                <a:lnTo>
                  <a:pt x="198" y="438"/>
                </a:lnTo>
                <a:lnTo>
                  <a:pt x="177" y="476"/>
                </a:lnTo>
                <a:lnTo>
                  <a:pt x="152" y="521"/>
                </a:lnTo>
                <a:lnTo>
                  <a:pt x="133" y="562"/>
                </a:lnTo>
                <a:lnTo>
                  <a:pt x="109" y="615"/>
                </a:lnTo>
                <a:lnTo>
                  <a:pt x="87" y="672"/>
                </a:lnTo>
                <a:lnTo>
                  <a:pt x="72" y="718"/>
                </a:lnTo>
                <a:lnTo>
                  <a:pt x="51" y="779"/>
                </a:lnTo>
                <a:lnTo>
                  <a:pt x="38" y="820"/>
                </a:lnTo>
                <a:lnTo>
                  <a:pt x="31" y="858"/>
                </a:lnTo>
                <a:lnTo>
                  <a:pt x="17" y="919"/>
                </a:lnTo>
                <a:lnTo>
                  <a:pt x="0" y="1031"/>
                </a:lnTo>
                <a:lnTo>
                  <a:pt x="35" y="903"/>
                </a:lnTo>
                <a:lnTo>
                  <a:pt x="54" y="851"/>
                </a:lnTo>
                <a:lnTo>
                  <a:pt x="69" y="799"/>
                </a:lnTo>
                <a:lnTo>
                  <a:pt x="88" y="754"/>
                </a:lnTo>
                <a:lnTo>
                  <a:pt x="111" y="714"/>
                </a:lnTo>
                <a:lnTo>
                  <a:pt x="132" y="672"/>
                </a:lnTo>
                <a:lnTo>
                  <a:pt x="155" y="632"/>
                </a:lnTo>
                <a:lnTo>
                  <a:pt x="176" y="598"/>
                </a:lnTo>
                <a:lnTo>
                  <a:pt x="201" y="567"/>
                </a:lnTo>
                <a:lnTo>
                  <a:pt x="226" y="534"/>
                </a:lnTo>
                <a:lnTo>
                  <a:pt x="253" y="508"/>
                </a:lnTo>
                <a:lnTo>
                  <a:pt x="272" y="485"/>
                </a:lnTo>
                <a:lnTo>
                  <a:pt x="302" y="462"/>
                </a:lnTo>
                <a:lnTo>
                  <a:pt x="333" y="433"/>
                </a:lnTo>
                <a:lnTo>
                  <a:pt x="361" y="414"/>
                </a:lnTo>
                <a:lnTo>
                  <a:pt x="390" y="395"/>
                </a:lnTo>
                <a:lnTo>
                  <a:pt x="425" y="370"/>
                </a:lnTo>
                <a:lnTo>
                  <a:pt x="466" y="351"/>
                </a:lnTo>
                <a:lnTo>
                  <a:pt x="502" y="335"/>
                </a:lnTo>
                <a:lnTo>
                  <a:pt x="536" y="323"/>
                </a:lnTo>
                <a:lnTo>
                  <a:pt x="573" y="308"/>
                </a:lnTo>
                <a:lnTo>
                  <a:pt x="604" y="300"/>
                </a:lnTo>
                <a:lnTo>
                  <a:pt x="635" y="295"/>
                </a:lnTo>
                <a:lnTo>
                  <a:pt x="675" y="288"/>
                </a:lnTo>
                <a:lnTo>
                  <a:pt x="704" y="282"/>
                </a:lnTo>
                <a:lnTo>
                  <a:pt x="745" y="280"/>
                </a:lnTo>
                <a:lnTo>
                  <a:pt x="778" y="280"/>
                </a:lnTo>
                <a:lnTo>
                  <a:pt x="824" y="289"/>
                </a:lnTo>
              </a:path>
            </a:pathLst>
          </a:custGeom>
          <a:solidFill>
            <a:srgbClr val="C0504D"/>
          </a:solidFill>
          <a:ln w="19050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7" name="Text Box 372"/>
          <p:cNvSpPr txBox="1">
            <a:spLocks noChangeArrowheads="1"/>
          </p:cNvSpPr>
          <p:nvPr/>
        </p:nvSpPr>
        <p:spPr bwMode="auto">
          <a:xfrm>
            <a:off x="3294644" y="4303241"/>
            <a:ext cx="628650" cy="48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09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8" name="Text Box 372"/>
          <p:cNvSpPr txBox="1">
            <a:spLocks noChangeArrowheads="1"/>
          </p:cNvSpPr>
          <p:nvPr/>
        </p:nvSpPr>
        <p:spPr bwMode="auto">
          <a:xfrm>
            <a:off x="4045532" y="4303241"/>
            <a:ext cx="628650" cy="48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67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9" name="Text Box 372"/>
          <p:cNvSpPr txBox="1">
            <a:spLocks noChangeArrowheads="1"/>
          </p:cNvSpPr>
          <p:nvPr/>
        </p:nvSpPr>
        <p:spPr bwMode="auto">
          <a:xfrm>
            <a:off x="3987378" y="3479588"/>
            <a:ext cx="909638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43</a:t>
            </a:r>
            <a:r>
              <a:rPr lang="ko-KR" altLang="en-US" sz="10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10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30</a:t>
            </a:r>
            <a:r>
              <a:rPr lang="en-US" altLang="ko-KR" sz="1000" b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%)</a:t>
            </a:r>
            <a:br>
              <a:rPr lang="en-US" altLang="ko-KR" sz="1000" b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축</a:t>
            </a:r>
            <a:endParaRPr lang="en-US" altLang="ko-KR" sz="1000" b="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7150" y="76200"/>
            <a:ext cx="1965325" cy="400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D.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활동 대상 공정</a:t>
            </a:r>
          </a:p>
        </p:txBody>
      </p:sp>
      <p:sp>
        <p:nvSpPr>
          <p:cNvPr id="11270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11271" name="그룹 11"/>
          <p:cNvGrpSpPr>
            <a:grpSpLocks/>
          </p:cNvGrpSpPr>
          <p:nvPr/>
        </p:nvGrpSpPr>
        <p:grpSpPr bwMode="auto">
          <a:xfrm>
            <a:off x="7847013" y="142875"/>
            <a:ext cx="1714500" cy="307975"/>
            <a:chOff x="6454149" y="67707"/>
            <a:chExt cx="2593033" cy="335993"/>
          </a:xfrm>
        </p:grpSpPr>
        <p:sp>
          <p:nvSpPr>
            <p:cNvPr id="11318" name="AutoShape 4"/>
            <p:cNvSpPr>
              <a:spLocks noChangeArrowheads="1"/>
            </p:cNvSpPr>
            <p:nvPr/>
          </p:nvSpPr>
          <p:spPr bwMode="auto">
            <a:xfrm>
              <a:off x="8454145" y="135253"/>
              <a:ext cx="593037" cy="268447"/>
            </a:xfrm>
            <a:prstGeom prst="homePlate">
              <a:avLst>
                <a:gd name="adj" fmla="val 2164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19" name="AutoShape 6"/>
            <p:cNvSpPr>
              <a:spLocks noChangeArrowheads="1"/>
            </p:cNvSpPr>
            <p:nvPr/>
          </p:nvSpPr>
          <p:spPr bwMode="auto">
            <a:xfrm>
              <a:off x="7959548" y="135253"/>
              <a:ext cx="593037" cy="268447"/>
            </a:xfrm>
            <a:prstGeom prst="homePlate">
              <a:avLst>
                <a:gd name="adj" fmla="val 2126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20" name="AutoShape 8"/>
            <p:cNvSpPr>
              <a:spLocks noChangeArrowheads="1"/>
            </p:cNvSpPr>
            <p:nvPr/>
          </p:nvSpPr>
          <p:spPr bwMode="auto">
            <a:xfrm>
              <a:off x="7464951" y="135253"/>
              <a:ext cx="590635" cy="268447"/>
            </a:xfrm>
            <a:prstGeom prst="homePlate">
              <a:avLst>
                <a:gd name="adj" fmla="val 2537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21" name="AutoShape 10"/>
            <p:cNvSpPr>
              <a:spLocks noChangeArrowheads="1"/>
            </p:cNvSpPr>
            <p:nvPr/>
          </p:nvSpPr>
          <p:spPr bwMode="auto">
            <a:xfrm>
              <a:off x="6967954" y="135253"/>
              <a:ext cx="593035" cy="268447"/>
            </a:xfrm>
            <a:prstGeom prst="homePlate">
              <a:avLst>
                <a:gd name="adj" fmla="val 2131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322" name="AutoShape 12"/>
            <p:cNvSpPr>
              <a:spLocks noChangeArrowheads="1"/>
            </p:cNvSpPr>
            <p:nvPr/>
          </p:nvSpPr>
          <p:spPr bwMode="auto">
            <a:xfrm>
              <a:off x="6454149" y="67707"/>
              <a:ext cx="593035" cy="268449"/>
            </a:xfrm>
            <a:prstGeom prst="homePlate">
              <a:avLst>
                <a:gd name="adj" fmla="val 25446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pic>
        <p:nvPicPr>
          <p:cNvPr id="52" name="그림 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0" t="2095" r="2444" b="3196"/>
          <a:stretch/>
        </p:blipFill>
        <p:spPr>
          <a:xfrm>
            <a:off x="700111" y="3212976"/>
            <a:ext cx="4036865" cy="3021786"/>
          </a:xfrm>
          <a:prstGeom prst="rect">
            <a:avLst/>
          </a:prstGeom>
        </p:spPr>
      </p:pic>
      <p:pic>
        <p:nvPicPr>
          <p:cNvPr id="53" name="그림 5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" t="3294" r="2368" b="3257"/>
          <a:stretch/>
        </p:blipFill>
        <p:spPr>
          <a:xfrm>
            <a:off x="5169024" y="3212976"/>
            <a:ext cx="4074318" cy="3021786"/>
          </a:xfrm>
          <a:prstGeom prst="rect">
            <a:avLst/>
          </a:prstGeom>
        </p:spPr>
      </p:pic>
      <p:pic>
        <p:nvPicPr>
          <p:cNvPr id="54" name="그림 4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63" r="21545" b="10254"/>
          <a:stretch>
            <a:fillRect/>
          </a:stretch>
        </p:blipFill>
        <p:spPr bwMode="auto">
          <a:xfrm>
            <a:off x="4879928" y="1687857"/>
            <a:ext cx="803275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93" descr="tank_vent filte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7564787" y="1724369"/>
            <a:ext cx="50323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93" descr="tank_vent filte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1804420" y="1646582"/>
            <a:ext cx="503237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TextBox 36"/>
          <p:cNvSpPr txBox="1">
            <a:spLocks noChangeArrowheads="1"/>
          </p:cNvSpPr>
          <p:nvPr/>
        </p:nvSpPr>
        <p:spPr bwMode="auto">
          <a:xfrm>
            <a:off x="1782409" y="2362544"/>
            <a:ext cx="637012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  <a:b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9Ton/h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2" name="오른쪽 화살표 61"/>
          <p:cNvSpPr/>
          <p:nvPr/>
        </p:nvSpPr>
        <p:spPr>
          <a:xfrm>
            <a:off x="2392489" y="1900582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3" name="TextBox 36"/>
          <p:cNvSpPr txBox="1">
            <a:spLocks noChangeArrowheads="1"/>
          </p:cNvSpPr>
          <p:nvPr/>
        </p:nvSpPr>
        <p:spPr bwMode="auto">
          <a:xfrm>
            <a:off x="2840387" y="2518119"/>
            <a:ext cx="4889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5" name="오른쪽 화살표 64"/>
          <p:cNvSpPr/>
          <p:nvPr/>
        </p:nvSpPr>
        <p:spPr>
          <a:xfrm>
            <a:off x="3472609" y="1900582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8" name="TextBox 36"/>
          <p:cNvSpPr txBox="1">
            <a:spLocks noChangeArrowheads="1"/>
          </p:cNvSpPr>
          <p:nvPr/>
        </p:nvSpPr>
        <p:spPr bwMode="auto">
          <a:xfrm>
            <a:off x="3557193" y="2362544"/>
            <a:ext cx="100488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oftened Water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</a:p>
        </p:txBody>
      </p:sp>
      <p:sp>
        <p:nvSpPr>
          <p:cNvPr id="69" name="오른쪽 화살표 68"/>
          <p:cNvSpPr/>
          <p:nvPr/>
        </p:nvSpPr>
        <p:spPr>
          <a:xfrm>
            <a:off x="4480721" y="1900582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0" name="TextBox 36"/>
          <p:cNvSpPr txBox="1">
            <a:spLocks noChangeArrowheads="1"/>
          </p:cNvSpPr>
          <p:nvPr/>
        </p:nvSpPr>
        <p:spPr bwMode="auto">
          <a:xfrm>
            <a:off x="4648153" y="2374748"/>
            <a:ext cx="1331912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삼투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RO, Reverse Osmosis)</a:t>
            </a:r>
          </a:p>
        </p:txBody>
      </p:sp>
      <p:sp>
        <p:nvSpPr>
          <p:cNvPr id="71" name="오른쪽 화살표 70"/>
          <p:cNvSpPr/>
          <p:nvPr/>
        </p:nvSpPr>
        <p:spPr>
          <a:xfrm>
            <a:off x="5808628" y="1900582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2" name="TextBox 36"/>
          <p:cNvSpPr txBox="1">
            <a:spLocks noChangeArrowheads="1"/>
          </p:cNvSpPr>
          <p:nvPr/>
        </p:nvSpPr>
        <p:spPr bwMode="auto">
          <a:xfrm>
            <a:off x="5907437" y="2357782"/>
            <a:ext cx="15716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기탈이온장치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EDI, Electro De-Ionization)</a:t>
            </a:r>
          </a:p>
        </p:txBody>
      </p:sp>
      <p:sp>
        <p:nvSpPr>
          <p:cNvPr id="73" name="오른쪽 화살표 72"/>
          <p:cNvSpPr/>
          <p:nvPr/>
        </p:nvSpPr>
        <p:spPr>
          <a:xfrm>
            <a:off x="7348887" y="1900582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4" name="TextBox 36"/>
          <p:cNvSpPr txBox="1">
            <a:spLocks noChangeArrowheads="1"/>
          </p:cNvSpPr>
          <p:nvPr/>
        </p:nvSpPr>
        <p:spPr bwMode="auto">
          <a:xfrm>
            <a:off x="7591799" y="2414932"/>
            <a:ext cx="600142" cy="51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torag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  <a:b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Ton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5" name="TextBox 36"/>
          <p:cNvSpPr txBox="1">
            <a:spLocks noChangeArrowheads="1"/>
          </p:cNvSpPr>
          <p:nvPr/>
        </p:nvSpPr>
        <p:spPr bwMode="auto">
          <a:xfrm>
            <a:off x="4427445" y="1485252"/>
            <a:ext cx="5207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②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6" name="TextBox 36"/>
          <p:cNvSpPr txBox="1">
            <a:spLocks noChangeArrowheads="1"/>
          </p:cNvSpPr>
          <p:nvPr/>
        </p:nvSpPr>
        <p:spPr bwMode="auto">
          <a:xfrm>
            <a:off x="1499471" y="1499217"/>
            <a:ext cx="5207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①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77" name="Picture 93" descr="tank_vent filte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3748635" y="1654519"/>
            <a:ext cx="50323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그림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3" b="52242"/>
          <a:stretch>
            <a:fillRect/>
          </a:stretch>
        </p:blipFill>
        <p:spPr bwMode="auto">
          <a:xfrm>
            <a:off x="6123337" y="1722782"/>
            <a:ext cx="1033463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" name="TextBox 36"/>
          <p:cNvSpPr txBox="1">
            <a:spLocks noChangeArrowheads="1"/>
          </p:cNvSpPr>
          <p:nvPr/>
        </p:nvSpPr>
        <p:spPr bwMode="auto">
          <a:xfrm>
            <a:off x="4328209" y="1313679"/>
            <a:ext cx="715558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6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0" name="TextBox 36"/>
          <p:cNvSpPr txBox="1">
            <a:spLocks noChangeArrowheads="1"/>
          </p:cNvSpPr>
          <p:nvPr/>
        </p:nvSpPr>
        <p:spPr bwMode="auto">
          <a:xfrm>
            <a:off x="5582297" y="1313679"/>
            <a:ext cx="70485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.5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1" name="TextBox 36"/>
          <p:cNvSpPr txBox="1">
            <a:spLocks noChangeArrowheads="1"/>
          </p:cNvSpPr>
          <p:nvPr/>
        </p:nvSpPr>
        <p:spPr bwMode="auto">
          <a:xfrm>
            <a:off x="6988177" y="1313679"/>
            <a:ext cx="778075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05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2" name="TextBox 36"/>
          <p:cNvSpPr txBox="1">
            <a:spLocks noChangeArrowheads="1"/>
          </p:cNvSpPr>
          <p:nvPr/>
        </p:nvSpPr>
        <p:spPr bwMode="auto">
          <a:xfrm>
            <a:off x="1456261" y="1313679"/>
            <a:ext cx="68262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8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3" name="오른쪽 화살표 82"/>
          <p:cNvSpPr/>
          <p:nvPr/>
        </p:nvSpPr>
        <p:spPr>
          <a:xfrm>
            <a:off x="1563724" y="1900582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4" name="그림 5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316" y="1770407"/>
            <a:ext cx="846137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TextBox 36"/>
          <p:cNvSpPr txBox="1">
            <a:spLocks noChangeArrowheads="1"/>
          </p:cNvSpPr>
          <p:nvPr/>
        </p:nvSpPr>
        <p:spPr bwMode="auto">
          <a:xfrm>
            <a:off x="514253" y="2362544"/>
            <a:ext cx="82391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City Water)</a:t>
            </a:r>
          </a:p>
        </p:txBody>
      </p:sp>
      <p:pic>
        <p:nvPicPr>
          <p:cNvPr id="86" name="그림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089" y="1559269"/>
            <a:ext cx="674688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오른쪽 화살표 86"/>
          <p:cNvSpPr/>
          <p:nvPr/>
        </p:nvSpPr>
        <p:spPr>
          <a:xfrm>
            <a:off x="8172800" y="1900582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8" name="그림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9825" y="1759294"/>
            <a:ext cx="9334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TextBox 36"/>
          <p:cNvSpPr txBox="1">
            <a:spLocks noChangeArrowheads="1"/>
          </p:cNvSpPr>
          <p:nvPr/>
        </p:nvSpPr>
        <p:spPr bwMode="auto">
          <a:xfrm>
            <a:off x="8644287" y="2441919"/>
            <a:ext cx="6238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r>
              <a:rPr lang="en-US" altLang="ko-KR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급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0" name="TextBox 36"/>
          <p:cNvSpPr txBox="1">
            <a:spLocks noChangeArrowheads="1"/>
          </p:cNvSpPr>
          <p:nvPr/>
        </p:nvSpPr>
        <p:spPr bwMode="auto">
          <a:xfrm>
            <a:off x="5638628" y="1483094"/>
            <a:ext cx="521594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③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1" name="TextBox 36"/>
          <p:cNvSpPr txBox="1">
            <a:spLocks noChangeArrowheads="1"/>
          </p:cNvSpPr>
          <p:nvPr/>
        </p:nvSpPr>
        <p:spPr bwMode="auto">
          <a:xfrm>
            <a:off x="7087313" y="1483051"/>
            <a:ext cx="521595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④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2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 공급 프로세스에서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낭비 인자를 확인하여 제거하고자 </a:t>
            </a: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59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23555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82"/>
            <a:chExt cx="2593033" cy="346385"/>
          </a:xfrm>
        </p:grpSpPr>
        <p:sp>
          <p:nvSpPr>
            <p:cNvPr id="23559" name="AutoShape 4"/>
            <p:cNvSpPr>
              <a:spLocks noChangeArrowheads="1"/>
            </p:cNvSpPr>
            <p:nvPr/>
          </p:nvSpPr>
          <p:spPr bwMode="auto">
            <a:xfrm>
              <a:off x="8454145" y="135228"/>
              <a:ext cx="593037" cy="268448"/>
            </a:xfrm>
            <a:prstGeom prst="homePlate">
              <a:avLst>
                <a:gd name="adj" fmla="val 2164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0" name="AutoShape 6"/>
            <p:cNvSpPr>
              <a:spLocks noChangeArrowheads="1"/>
            </p:cNvSpPr>
            <p:nvPr/>
          </p:nvSpPr>
          <p:spPr bwMode="auto">
            <a:xfrm>
              <a:off x="7959548" y="135228"/>
              <a:ext cx="593037" cy="268448"/>
            </a:xfrm>
            <a:prstGeom prst="homePlate">
              <a:avLst>
                <a:gd name="adj" fmla="val 2126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1" name="AutoShape 8"/>
            <p:cNvSpPr>
              <a:spLocks noChangeArrowheads="1"/>
            </p:cNvSpPr>
            <p:nvPr/>
          </p:nvSpPr>
          <p:spPr bwMode="auto">
            <a:xfrm>
              <a:off x="7464951" y="135228"/>
              <a:ext cx="590635" cy="268448"/>
            </a:xfrm>
            <a:prstGeom prst="homePlate">
              <a:avLst>
                <a:gd name="adj" fmla="val 2537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2" name="AutoShape 10"/>
            <p:cNvSpPr>
              <a:spLocks noChangeArrowheads="1"/>
            </p:cNvSpPr>
            <p:nvPr/>
          </p:nvSpPr>
          <p:spPr bwMode="auto">
            <a:xfrm>
              <a:off x="6967954" y="67682"/>
              <a:ext cx="593035" cy="268449"/>
            </a:xfrm>
            <a:prstGeom prst="homePlate">
              <a:avLst>
                <a:gd name="adj" fmla="val 2131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3" name="AutoShape 12"/>
            <p:cNvSpPr>
              <a:spLocks noChangeArrowheads="1"/>
            </p:cNvSpPr>
            <p:nvPr/>
          </p:nvSpPr>
          <p:spPr bwMode="auto">
            <a:xfrm>
              <a:off x="6454149" y="145619"/>
              <a:ext cx="593035" cy="268448"/>
            </a:xfrm>
            <a:prstGeom prst="homePlate">
              <a:avLst>
                <a:gd name="adj" fmla="val 25446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3054041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M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현수준 측정 및 목표 설정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3558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연간 상수 비용의 </a:t>
            </a:r>
            <a:r>
              <a:rPr lang="en-US" altLang="ko-KR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30% </a:t>
            </a:r>
            <a:r>
              <a:rPr lang="ko-KR" altLang="en-US" sz="16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rPr>
              <a:t>이상 절감하고자 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2" name="Text Box 372"/>
          <p:cNvSpPr txBox="1">
            <a:spLocks noChangeArrowheads="1"/>
          </p:cNvSpPr>
          <p:nvPr/>
        </p:nvSpPr>
        <p:spPr bwMode="auto">
          <a:xfrm>
            <a:off x="6882209" y="3879850"/>
            <a:ext cx="6286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 수준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Line 375"/>
          <p:cNvSpPr>
            <a:spLocks noChangeShapeType="1"/>
          </p:cNvSpPr>
          <p:nvPr/>
        </p:nvSpPr>
        <p:spPr bwMode="auto">
          <a:xfrm>
            <a:off x="6937771" y="3865563"/>
            <a:ext cx="1289050" cy="1587"/>
          </a:xfrm>
          <a:prstGeom prst="line">
            <a:avLst/>
          </a:prstGeom>
          <a:noFill/>
          <a:ln w="38100">
            <a:solidFill>
              <a:sysClr val="window" lastClr="FFFFFF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4" name="Rectangle 370"/>
          <p:cNvSpPr>
            <a:spLocks noChangeArrowheads="1"/>
          </p:cNvSpPr>
          <p:nvPr/>
        </p:nvSpPr>
        <p:spPr bwMode="auto">
          <a:xfrm>
            <a:off x="6969521" y="2730500"/>
            <a:ext cx="447675" cy="112871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5" name="Rectangle 371"/>
          <p:cNvSpPr>
            <a:spLocks noChangeArrowheads="1"/>
          </p:cNvSpPr>
          <p:nvPr/>
        </p:nvSpPr>
        <p:spPr bwMode="auto">
          <a:xfrm>
            <a:off x="7723584" y="3079082"/>
            <a:ext cx="447675" cy="78330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0" algn="ctr">
            <a:solidFill>
              <a:srgbClr val="5F5F5F"/>
            </a:solidFill>
            <a:miter lim="800000"/>
            <a:headEnd/>
            <a:tailEnd/>
          </a:ln>
          <a:effectLst/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ko-KR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6" name="Line 38"/>
          <p:cNvSpPr>
            <a:spLocks noChangeShapeType="1"/>
          </p:cNvSpPr>
          <p:nvPr/>
        </p:nvSpPr>
        <p:spPr bwMode="auto">
          <a:xfrm flipV="1">
            <a:off x="6809184" y="3871913"/>
            <a:ext cx="1525587" cy="0"/>
          </a:xfrm>
          <a:prstGeom prst="line">
            <a:avLst/>
          </a:prstGeom>
          <a:noFill/>
          <a:ln w="28575">
            <a:solidFill>
              <a:sysClr val="windowText" lastClr="000000"/>
            </a:solidFill>
            <a:round/>
            <a:headEnd/>
            <a:tailEnd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7" name="Text Box 372"/>
          <p:cNvSpPr txBox="1">
            <a:spLocks noChangeArrowheads="1"/>
          </p:cNvSpPr>
          <p:nvPr/>
        </p:nvSpPr>
        <p:spPr bwMode="auto">
          <a:xfrm>
            <a:off x="7642621" y="3889375"/>
            <a:ext cx="628650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ko-KR" altLang="en-US" sz="110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</a:t>
            </a:r>
            <a:endParaRPr lang="en-US" altLang="ko-KR" sz="110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Freeform 379"/>
          <p:cNvSpPr>
            <a:spLocks noChangeAspect="1"/>
          </p:cNvSpPr>
          <p:nvPr/>
        </p:nvSpPr>
        <p:spPr bwMode="auto">
          <a:xfrm rot="4122523">
            <a:off x="7467649" y="2723072"/>
            <a:ext cx="377825" cy="249237"/>
          </a:xfrm>
          <a:custGeom>
            <a:avLst/>
            <a:gdLst>
              <a:gd name="T0" fmla="*/ 2147483647 w 1006"/>
              <a:gd name="T1" fmla="*/ 2147483647 h 1032"/>
              <a:gd name="T2" fmla="*/ 2147483647 w 1006"/>
              <a:gd name="T3" fmla="*/ 0 h 1032"/>
              <a:gd name="T4" fmla="*/ 2147483647 w 1006"/>
              <a:gd name="T5" fmla="*/ 2147483647 h 1032"/>
              <a:gd name="T6" fmla="*/ 2147483647 w 1006"/>
              <a:gd name="T7" fmla="*/ 2147483647 h 1032"/>
              <a:gd name="T8" fmla="*/ 2147483647 w 1006"/>
              <a:gd name="T9" fmla="*/ 2147483647 h 1032"/>
              <a:gd name="T10" fmla="*/ 2147483647 w 1006"/>
              <a:gd name="T11" fmla="*/ 2147483647 h 1032"/>
              <a:gd name="T12" fmla="*/ 2147483647 w 1006"/>
              <a:gd name="T13" fmla="*/ 2147483647 h 1032"/>
              <a:gd name="T14" fmla="*/ 2147483647 w 1006"/>
              <a:gd name="T15" fmla="*/ 2147483647 h 1032"/>
              <a:gd name="T16" fmla="*/ 2147483647 w 1006"/>
              <a:gd name="T17" fmla="*/ 2147483647 h 1032"/>
              <a:gd name="T18" fmla="*/ 2147483647 w 1006"/>
              <a:gd name="T19" fmla="*/ 2147483647 h 1032"/>
              <a:gd name="T20" fmla="*/ 2147483647 w 1006"/>
              <a:gd name="T21" fmla="*/ 2147483647 h 1032"/>
              <a:gd name="T22" fmla="*/ 2147483647 w 1006"/>
              <a:gd name="T23" fmla="*/ 2147483647 h 1032"/>
              <a:gd name="T24" fmla="*/ 2147483647 w 1006"/>
              <a:gd name="T25" fmla="*/ 2147483647 h 1032"/>
              <a:gd name="T26" fmla="*/ 2147483647 w 1006"/>
              <a:gd name="T27" fmla="*/ 2147483647 h 1032"/>
              <a:gd name="T28" fmla="*/ 2147483647 w 1006"/>
              <a:gd name="T29" fmla="*/ 2147483647 h 1032"/>
              <a:gd name="T30" fmla="*/ 2147483647 w 1006"/>
              <a:gd name="T31" fmla="*/ 2147483647 h 1032"/>
              <a:gd name="T32" fmla="*/ 2147483647 w 1006"/>
              <a:gd name="T33" fmla="*/ 2147483647 h 1032"/>
              <a:gd name="T34" fmla="*/ 0 w 1006"/>
              <a:gd name="T35" fmla="*/ 2147483647 h 1032"/>
              <a:gd name="T36" fmla="*/ 2147483647 w 1006"/>
              <a:gd name="T37" fmla="*/ 2147483647 h 1032"/>
              <a:gd name="T38" fmla="*/ 2147483647 w 1006"/>
              <a:gd name="T39" fmla="*/ 2147483647 h 1032"/>
              <a:gd name="T40" fmla="*/ 2147483647 w 1006"/>
              <a:gd name="T41" fmla="*/ 2147483647 h 1032"/>
              <a:gd name="T42" fmla="*/ 2147483647 w 1006"/>
              <a:gd name="T43" fmla="*/ 2147483647 h 1032"/>
              <a:gd name="T44" fmla="*/ 2147483647 w 1006"/>
              <a:gd name="T45" fmla="*/ 2147483647 h 1032"/>
              <a:gd name="T46" fmla="*/ 2147483647 w 1006"/>
              <a:gd name="T47" fmla="*/ 2147483647 h 1032"/>
              <a:gd name="T48" fmla="*/ 2147483647 w 1006"/>
              <a:gd name="T49" fmla="*/ 2147483647 h 1032"/>
              <a:gd name="T50" fmla="*/ 2147483647 w 1006"/>
              <a:gd name="T51" fmla="*/ 2147483647 h 1032"/>
              <a:gd name="T52" fmla="*/ 2147483647 w 1006"/>
              <a:gd name="T53" fmla="*/ 2147483647 h 1032"/>
              <a:gd name="T54" fmla="*/ 2147483647 w 1006"/>
              <a:gd name="T55" fmla="*/ 2147483647 h 1032"/>
              <a:gd name="T56" fmla="*/ 2147483647 w 1006"/>
              <a:gd name="T57" fmla="*/ 2147483647 h 1032"/>
              <a:gd name="T58" fmla="*/ 2147483647 w 1006"/>
              <a:gd name="T59" fmla="*/ 2147483647 h 1032"/>
              <a:gd name="T60" fmla="*/ 2147483647 w 1006"/>
              <a:gd name="T61" fmla="*/ 2147483647 h 1032"/>
              <a:gd name="T62" fmla="*/ 2147483647 w 1006"/>
              <a:gd name="T63" fmla="*/ 2147483647 h 103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6"/>
              <a:gd name="T97" fmla="*/ 0 h 1032"/>
              <a:gd name="T98" fmla="*/ 1006 w 1006"/>
              <a:gd name="T99" fmla="*/ 1032 h 103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6" h="1032">
                <a:moveTo>
                  <a:pt x="824" y="289"/>
                </a:moveTo>
                <a:lnTo>
                  <a:pt x="824" y="350"/>
                </a:lnTo>
                <a:lnTo>
                  <a:pt x="1005" y="194"/>
                </a:lnTo>
                <a:lnTo>
                  <a:pt x="841" y="0"/>
                </a:lnTo>
                <a:lnTo>
                  <a:pt x="837" y="62"/>
                </a:lnTo>
                <a:lnTo>
                  <a:pt x="803" y="53"/>
                </a:lnTo>
                <a:lnTo>
                  <a:pt x="765" y="56"/>
                </a:lnTo>
                <a:lnTo>
                  <a:pt x="735" y="62"/>
                </a:lnTo>
                <a:lnTo>
                  <a:pt x="705" y="65"/>
                </a:lnTo>
                <a:lnTo>
                  <a:pt x="670" y="70"/>
                </a:lnTo>
                <a:lnTo>
                  <a:pt x="634" y="80"/>
                </a:lnTo>
                <a:lnTo>
                  <a:pt x="597" y="93"/>
                </a:lnTo>
                <a:lnTo>
                  <a:pt x="568" y="103"/>
                </a:lnTo>
                <a:lnTo>
                  <a:pt x="533" y="118"/>
                </a:lnTo>
                <a:lnTo>
                  <a:pt x="498" y="133"/>
                </a:lnTo>
                <a:lnTo>
                  <a:pt x="474" y="151"/>
                </a:lnTo>
                <a:lnTo>
                  <a:pt x="444" y="166"/>
                </a:lnTo>
                <a:lnTo>
                  <a:pt x="417" y="188"/>
                </a:lnTo>
                <a:lnTo>
                  <a:pt x="386" y="216"/>
                </a:lnTo>
                <a:lnTo>
                  <a:pt x="355" y="243"/>
                </a:lnTo>
                <a:lnTo>
                  <a:pt x="318" y="286"/>
                </a:lnTo>
                <a:lnTo>
                  <a:pt x="281" y="328"/>
                </a:lnTo>
                <a:lnTo>
                  <a:pt x="250" y="367"/>
                </a:lnTo>
                <a:lnTo>
                  <a:pt x="224" y="404"/>
                </a:lnTo>
                <a:lnTo>
                  <a:pt x="198" y="438"/>
                </a:lnTo>
                <a:lnTo>
                  <a:pt x="177" y="476"/>
                </a:lnTo>
                <a:lnTo>
                  <a:pt x="152" y="521"/>
                </a:lnTo>
                <a:lnTo>
                  <a:pt x="133" y="562"/>
                </a:lnTo>
                <a:lnTo>
                  <a:pt x="109" y="615"/>
                </a:lnTo>
                <a:lnTo>
                  <a:pt x="87" y="672"/>
                </a:lnTo>
                <a:lnTo>
                  <a:pt x="72" y="718"/>
                </a:lnTo>
                <a:lnTo>
                  <a:pt x="51" y="779"/>
                </a:lnTo>
                <a:lnTo>
                  <a:pt x="38" y="820"/>
                </a:lnTo>
                <a:lnTo>
                  <a:pt x="31" y="858"/>
                </a:lnTo>
                <a:lnTo>
                  <a:pt x="17" y="919"/>
                </a:lnTo>
                <a:lnTo>
                  <a:pt x="0" y="1031"/>
                </a:lnTo>
                <a:lnTo>
                  <a:pt x="35" y="903"/>
                </a:lnTo>
                <a:lnTo>
                  <a:pt x="54" y="851"/>
                </a:lnTo>
                <a:lnTo>
                  <a:pt x="69" y="799"/>
                </a:lnTo>
                <a:lnTo>
                  <a:pt x="88" y="754"/>
                </a:lnTo>
                <a:lnTo>
                  <a:pt x="111" y="714"/>
                </a:lnTo>
                <a:lnTo>
                  <a:pt x="132" y="672"/>
                </a:lnTo>
                <a:lnTo>
                  <a:pt x="155" y="632"/>
                </a:lnTo>
                <a:lnTo>
                  <a:pt x="176" y="598"/>
                </a:lnTo>
                <a:lnTo>
                  <a:pt x="201" y="567"/>
                </a:lnTo>
                <a:lnTo>
                  <a:pt x="226" y="534"/>
                </a:lnTo>
                <a:lnTo>
                  <a:pt x="253" y="508"/>
                </a:lnTo>
                <a:lnTo>
                  <a:pt x="272" y="485"/>
                </a:lnTo>
                <a:lnTo>
                  <a:pt x="302" y="462"/>
                </a:lnTo>
                <a:lnTo>
                  <a:pt x="333" y="433"/>
                </a:lnTo>
                <a:lnTo>
                  <a:pt x="361" y="414"/>
                </a:lnTo>
                <a:lnTo>
                  <a:pt x="390" y="395"/>
                </a:lnTo>
                <a:lnTo>
                  <a:pt x="425" y="370"/>
                </a:lnTo>
                <a:lnTo>
                  <a:pt x="466" y="351"/>
                </a:lnTo>
                <a:lnTo>
                  <a:pt x="502" y="335"/>
                </a:lnTo>
                <a:lnTo>
                  <a:pt x="536" y="323"/>
                </a:lnTo>
                <a:lnTo>
                  <a:pt x="573" y="308"/>
                </a:lnTo>
                <a:lnTo>
                  <a:pt x="604" y="300"/>
                </a:lnTo>
                <a:lnTo>
                  <a:pt x="635" y="295"/>
                </a:lnTo>
                <a:lnTo>
                  <a:pt x="675" y="288"/>
                </a:lnTo>
                <a:lnTo>
                  <a:pt x="704" y="282"/>
                </a:lnTo>
                <a:lnTo>
                  <a:pt x="745" y="280"/>
                </a:lnTo>
                <a:lnTo>
                  <a:pt x="778" y="280"/>
                </a:lnTo>
                <a:lnTo>
                  <a:pt x="824" y="289"/>
                </a:lnTo>
              </a:path>
            </a:pathLst>
          </a:custGeom>
          <a:solidFill>
            <a:srgbClr val="C0504D"/>
          </a:solidFill>
          <a:ln w="19050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100" kern="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30" name="Text Box 372"/>
          <p:cNvSpPr txBox="1">
            <a:spLocks noChangeArrowheads="1"/>
          </p:cNvSpPr>
          <p:nvPr/>
        </p:nvSpPr>
        <p:spPr bwMode="auto">
          <a:xfrm>
            <a:off x="6879020" y="3151188"/>
            <a:ext cx="628650" cy="48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09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1" name="Text Box 372"/>
          <p:cNvSpPr txBox="1">
            <a:spLocks noChangeArrowheads="1"/>
          </p:cNvSpPr>
          <p:nvPr/>
        </p:nvSpPr>
        <p:spPr bwMode="auto">
          <a:xfrm>
            <a:off x="7629908" y="3151188"/>
            <a:ext cx="628650" cy="48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48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월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2" name="Text Box 372"/>
          <p:cNvSpPr txBox="1">
            <a:spLocks noChangeArrowheads="1"/>
          </p:cNvSpPr>
          <p:nvPr/>
        </p:nvSpPr>
        <p:spPr bwMode="auto">
          <a:xfrm>
            <a:off x="7571754" y="2327535"/>
            <a:ext cx="909638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40000"/>
              </a:lnSpc>
              <a:spcBef>
                <a:spcPct val="0"/>
              </a:spcBef>
              <a:buClr>
                <a:srgbClr val="FF0000"/>
              </a:buClr>
              <a:buFont typeface="Symbol" panose="05050102010706020507" pitchFamily="18" charset="2"/>
              <a:buNone/>
            </a:pPr>
            <a:r>
              <a:rPr lang="en-US" altLang="ko-KR" sz="10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62</a:t>
            </a:r>
            <a:r>
              <a:rPr lang="ko-KR" altLang="en-US" sz="10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1000" b="0" dirty="0" smtClean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20</a:t>
            </a:r>
            <a:r>
              <a:rPr lang="en-US" altLang="ko-KR" sz="1000" b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%)</a:t>
            </a:r>
            <a:br>
              <a:rPr lang="en-US" altLang="ko-KR" sz="1000" b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>
                <a:solidFill>
                  <a:srgbClr val="FF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축</a:t>
            </a:r>
            <a:endParaRPr lang="en-US" altLang="ko-KR" sz="1000" b="0" dirty="0">
              <a:solidFill>
                <a:srgbClr val="FF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3" name="Text Box 359"/>
          <p:cNvSpPr txBox="1">
            <a:spLocks noChangeArrowheads="1"/>
          </p:cNvSpPr>
          <p:nvPr/>
        </p:nvSpPr>
        <p:spPr bwMode="auto">
          <a:xfrm>
            <a:off x="1406525" y="1340768"/>
            <a:ext cx="4770438" cy="461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2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KPI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수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유틸리티 비용 절감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낭비요소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제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하고자 하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본 과제에서 </a:t>
            </a: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는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상수의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leanliness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평가하는 지표가 됨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2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정의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“</a:t>
            </a: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는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전류가 흐르는 정도를 말한다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적으로 전기 전도도가 있으며 전기 전도의 정도를 나타내는 말로 전기 전도는 도체의 안에 전기장이 존재할 때 전하가 이동을 하면서 전류가 발생되는 상태를 말한다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기 전도는 전류의 크기 암페어를 상수로 표현한 것으로 전기 저항 옴에 역수이다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” </a:t>
            </a:r>
            <a:r>
              <a:rPr lang="en-US" altLang="ko-KR" sz="1200" b="0" baseline="300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Note 1)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0" indent="0" eaLnBrk="1" hangingPunct="1">
              <a:lnSpc>
                <a:spcPct val="120000"/>
              </a:lnSpc>
              <a:spcBef>
                <a:spcPts val="600"/>
              </a:spcBef>
              <a:buNone/>
            </a:pPr>
            <a:endParaRPr lang="en-US" altLang="ko-KR" sz="12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재 유틸리티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비용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2019</a:t>
            </a:r>
            <a:r>
              <a:rPr kumimoji="0" lang="ko-KR" altLang="en-US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년              </a:t>
            </a:r>
            <a: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: 8,097,000</a:t>
            </a:r>
            <a:r>
              <a:rPr kumimoji="0" lang="ko-KR" altLang="en-US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원</a:t>
            </a:r>
            <a: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/>
            </a:r>
            <a:b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</a:br>
            <a: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2020</a:t>
            </a:r>
            <a:r>
              <a:rPr kumimoji="0" lang="ko-KR" altLang="en-US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년 </a:t>
            </a:r>
            <a: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1</a:t>
            </a:r>
            <a:r>
              <a:rPr kumimoji="0" lang="ko-KR" altLang="en-US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월</a:t>
            </a:r>
            <a: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~9</a:t>
            </a:r>
            <a:r>
              <a:rPr kumimoji="0" lang="ko-KR" altLang="en-US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월 </a:t>
            </a:r>
            <a:r>
              <a:rPr kumimoji="0" lang="en-US" altLang="ko-KR" sz="12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: 5,747,000</a:t>
            </a:r>
            <a:r>
              <a:rPr kumimoji="0" lang="ko-KR" altLang="en-US" sz="1200" b="0" kern="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원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익산공장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전체 유틸리티 비용의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1%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를 상수로 정의함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kumimoji="0" lang="en-US" altLang="ko-KR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8,097,000</a:t>
            </a:r>
            <a:r>
              <a:rPr kumimoji="0" lang="ko-KR" altLang="en-US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원 </a:t>
            </a:r>
            <a:r>
              <a:rPr kumimoji="0" lang="en-US" altLang="ko-KR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(</a:t>
            </a:r>
            <a:r>
              <a:rPr kumimoji="0" lang="ko-KR" altLang="en-US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상수</a:t>
            </a:r>
            <a:r>
              <a:rPr kumimoji="0" lang="en-US" altLang="ko-KR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/</a:t>
            </a:r>
            <a:r>
              <a:rPr kumimoji="0" lang="ko-KR" altLang="en-US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년</a:t>
            </a:r>
            <a:r>
              <a:rPr kumimoji="0" lang="en-US" altLang="ko-KR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)</a:t>
            </a:r>
            <a:br>
              <a:rPr kumimoji="0" lang="en-US" altLang="ko-KR" sz="1200" b="0" kern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</a:br>
            <a:endParaRPr lang="en-US" altLang="ko-KR" sz="12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목표 설정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현재 상수 비용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약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00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만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</a:t>
            </a:r>
            <a:r>
              <a:rPr lang="en-US" altLang="ko-KR" sz="12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en-US" altLang="ko-KR" sz="12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% </a:t>
            </a:r>
            <a:r>
              <a:rPr lang="ko-KR" altLang="en-US" sz="12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 절감</a:t>
            </a:r>
            <a:endParaRPr lang="en-US" altLang="ko-KR" sz="12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35" name="TextBox 10"/>
          <p:cNvSpPr txBox="1">
            <a:spLocks noChangeArrowheads="1"/>
          </p:cNvSpPr>
          <p:nvPr/>
        </p:nvSpPr>
        <p:spPr bwMode="auto">
          <a:xfrm>
            <a:off x="272480" y="6510536"/>
            <a:ext cx="837565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522288"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defTabSz="522288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defTabSz="522288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defTabSz="522288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defTabSz="522288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defTabSz="5222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defTabSz="5222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defTabSz="5222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defTabSz="5222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kumimoji="0" lang="en-US" altLang="ko-KR" sz="900" b="0" kern="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Note 1) </a:t>
            </a:r>
            <a:r>
              <a:rPr kumimoji="0" lang="ko-KR" altLang="en-US" sz="900" b="0" kern="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과학백과사전</a:t>
            </a:r>
            <a:r>
              <a:rPr kumimoji="0" lang="en-US" altLang="ko-KR" sz="900" b="0" kern="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 </a:t>
            </a:r>
            <a:r>
              <a:rPr kumimoji="0" lang="ko-KR" altLang="en-US" sz="900" b="0" kern="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사이언스 올 </a:t>
            </a:r>
            <a:r>
              <a:rPr kumimoji="0" lang="en-US" altLang="ko-KR" sz="900" b="0" kern="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[Website]. (2020, June 14). Retrieved from </a:t>
            </a:r>
            <a:r>
              <a:rPr kumimoji="0" lang="en-US" altLang="ko-KR" sz="900" b="0" kern="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Open Sans" pitchFamily="34" charset="0"/>
              </a:rPr>
              <a:t>https://www.scienceall.com/%EC%A0%84%EB%8F%84%EB%8F%84conductance/</a:t>
            </a:r>
            <a:endParaRPr kumimoji="0" lang="en-US" altLang="ko-KR" sz="900" b="0" kern="0" dirty="0" smtClean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Open Sans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23555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82"/>
            <a:chExt cx="2593033" cy="346385"/>
          </a:xfrm>
        </p:grpSpPr>
        <p:sp>
          <p:nvSpPr>
            <p:cNvPr id="23559" name="AutoShape 4"/>
            <p:cNvSpPr>
              <a:spLocks noChangeArrowheads="1"/>
            </p:cNvSpPr>
            <p:nvPr/>
          </p:nvSpPr>
          <p:spPr bwMode="auto">
            <a:xfrm>
              <a:off x="8454145" y="135228"/>
              <a:ext cx="593037" cy="268448"/>
            </a:xfrm>
            <a:prstGeom prst="homePlate">
              <a:avLst>
                <a:gd name="adj" fmla="val 2164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0" name="AutoShape 6"/>
            <p:cNvSpPr>
              <a:spLocks noChangeArrowheads="1"/>
            </p:cNvSpPr>
            <p:nvPr/>
          </p:nvSpPr>
          <p:spPr bwMode="auto">
            <a:xfrm>
              <a:off x="7959548" y="135228"/>
              <a:ext cx="593037" cy="268448"/>
            </a:xfrm>
            <a:prstGeom prst="homePlate">
              <a:avLst>
                <a:gd name="adj" fmla="val 2126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1" name="AutoShape 8"/>
            <p:cNvSpPr>
              <a:spLocks noChangeArrowheads="1"/>
            </p:cNvSpPr>
            <p:nvPr/>
          </p:nvSpPr>
          <p:spPr bwMode="auto">
            <a:xfrm>
              <a:off x="7464951" y="135228"/>
              <a:ext cx="590635" cy="268448"/>
            </a:xfrm>
            <a:prstGeom prst="homePlate">
              <a:avLst>
                <a:gd name="adj" fmla="val 2537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2" name="AutoShape 10"/>
            <p:cNvSpPr>
              <a:spLocks noChangeArrowheads="1"/>
            </p:cNvSpPr>
            <p:nvPr/>
          </p:nvSpPr>
          <p:spPr bwMode="auto">
            <a:xfrm>
              <a:off x="6967954" y="67682"/>
              <a:ext cx="593035" cy="268449"/>
            </a:xfrm>
            <a:prstGeom prst="homePlate">
              <a:avLst>
                <a:gd name="adj" fmla="val 21314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3563" name="AutoShape 12"/>
            <p:cNvSpPr>
              <a:spLocks noChangeArrowheads="1"/>
            </p:cNvSpPr>
            <p:nvPr/>
          </p:nvSpPr>
          <p:spPr bwMode="auto">
            <a:xfrm>
              <a:off x="6454149" y="145619"/>
              <a:ext cx="593035" cy="268448"/>
            </a:xfrm>
            <a:prstGeom prst="homePlate">
              <a:avLst>
                <a:gd name="adj" fmla="val 25446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57150" y="76200"/>
            <a:ext cx="1495922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M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측정 방법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23558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는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센서에 의해 측정되며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CADA(Supervisory </a:t>
            </a:r>
            <a:r>
              <a:rPr lang="en-US" altLang="ko-KR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ontrol And Data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cquisition)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리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2" name="TextBox 13"/>
          <p:cNvSpPr txBox="1">
            <a:spLocks noChangeArrowheads="1"/>
          </p:cNvSpPr>
          <p:nvPr/>
        </p:nvSpPr>
        <p:spPr bwMode="auto">
          <a:xfrm>
            <a:off x="1679735" y="1100138"/>
            <a:ext cx="1380804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측정 방법</a:t>
            </a:r>
            <a:endParaRPr lang="en-US" altLang="ko-KR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Text Box 359"/>
          <p:cNvSpPr txBox="1">
            <a:spLocks noChangeArrowheads="1"/>
          </p:cNvSpPr>
          <p:nvPr/>
        </p:nvSpPr>
        <p:spPr bwMode="auto">
          <a:xfrm>
            <a:off x="848544" y="1614667"/>
            <a:ext cx="4182341" cy="740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센서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는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전도도 센서에서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측정되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는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월마다 </a:t>
            </a: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검교정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됨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449263" y="1468438"/>
            <a:ext cx="44338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Box 359"/>
          <p:cNvSpPr txBox="1">
            <a:spLocks noChangeArrowheads="1"/>
          </p:cNvSpPr>
          <p:nvPr/>
        </p:nvSpPr>
        <p:spPr bwMode="auto">
          <a:xfrm>
            <a:off x="5457056" y="1614667"/>
            <a:ext cx="3776663" cy="740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데이터 저장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측정된 전도도 데이터는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B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저장되며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CADA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통해 데이터 출력이 가능함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6" name="TextBox 17"/>
          <p:cNvSpPr txBox="1">
            <a:spLocks noChangeArrowheads="1"/>
          </p:cNvSpPr>
          <p:nvPr/>
        </p:nvSpPr>
        <p:spPr bwMode="auto">
          <a:xfrm>
            <a:off x="6609184" y="1100138"/>
            <a:ext cx="1372789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Collection</a:t>
            </a:r>
            <a:endParaRPr lang="ko-KR" altLang="en-US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7" name="직선 연결선 26"/>
          <p:cNvCxnSpPr/>
          <p:nvPr/>
        </p:nvCxnSpPr>
        <p:spPr>
          <a:xfrm>
            <a:off x="5153025" y="1468438"/>
            <a:ext cx="44354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그림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26" y="4233118"/>
            <a:ext cx="2916586" cy="164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타원 29"/>
          <p:cNvSpPr/>
          <p:nvPr/>
        </p:nvSpPr>
        <p:spPr>
          <a:xfrm rot="18900000">
            <a:off x="2449360" y="4783819"/>
            <a:ext cx="565286" cy="466208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/>
          </a:p>
        </p:txBody>
      </p:sp>
      <p:sp>
        <p:nvSpPr>
          <p:cNvPr id="31" name="오른쪽 화살표 30"/>
          <p:cNvSpPr/>
          <p:nvPr/>
        </p:nvSpPr>
        <p:spPr bwMode="auto">
          <a:xfrm rot="2626462" flipH="1" flipV="1">
            <a:off x="2895287" y="5178129"/>
            <a:ext cx="302230" cy="140687"/>
          </a:xfrm>
          <a:prstGeom prst="rightArrow">
            <a:avLst>
              <a:gd name="adj1" fmla="val 50000"/>
              <a:gd name="adj2" fmla="val 69048"/>
            </a:avLst>
          </a:prstGeom>
          <a:solidFill>
            <a:schemeClr val="bg1">
              <a:lumMod val="75000"/>
            </a:schemeClr>
          </a:solidFill>
          <a:ln w="3175" algn="ctr">
            <a:solidFill>
              <a:srgbClr val="0000FF"/>
            </a:solidFill>
            <a:miter lim="800000"/>
            <a:headEnd/>
            <a:tailEnd/>
          </a:ln>
          <a:extLst/>
        </p:spPr>
        <p:txBody>
          <a:bodyPr lIns="90000" tIns="46800" rIns="90000" bIns="46800" anchor="ctr"/>
          <a:lstStyle/>
          <a:p>
            <a:pPr algn="ctr" eaLnBrk="1" latinLnBrk="1" hangingPunct="1">
              <a:lnSpc>
                <a:spcPct val="110000"/>
              </a:lnSpc>
              <a:defRPr/>
            </a:pPr>
            <a:endParaRPr lang="ko-KR" altLang="en-US" sz="1100" u="sng" dirty="0">
              <a:solidFill>
                <a:srgbClr val="EEECE1">
                  <a:lumMod val="25000"/>
                </a:srgbClr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pic>
        <p:nvPicPr>
          <p:cNvPr id="32" name="그림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65" b="57446"/>
          <a:stretch/>
        </p:blipFill>
        <p:spPr bwMode="auto">
          <a:xfrm>
            <a:off x="5306114" y="3788224"/>
            <a:ext cx="1973118" cy="93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그림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6114" y="2622780"/>
            <a:ext cx="1973118" cy="1111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그림 3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51" t="-1" r="1" b="55862"/>
          <a:stretch/>
        </p:blipFill>
        <p:spPr>
          <a:xfrm>
            <a:off x="7335622" y="2622779"/>
            <a:ext cx="1865850" cy="2099911"/>
          </a:xfrm>
          <a:prstGeom prst="rect">
            <a:avLst/>
          </a:prstGeom>
        </p:spPr>
      </p:pic>
      <p:pic>
        <p:nvPicPr>
          <p:cNvPr id="36" name="그림 5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326" y="2478763"/>
            <a:ext cx="2916586" cy="164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타원 36"/>
          <p:cNvSpPr/>
          <p:nvPr/>
        </p:nvSpPr>
        <p:spPr>
          <a:xfrm rot="15300000">
            <a:off x="3236531" y="3471168"/>
            <a:ext cx="386097" cy="318425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/>
          </a:p>
        </p:txBody>
      </p:sp>
      <p:sp>
        <p:nvSpPr>
          <p:cNvPr id="38" name="오른쪽 화살표 37"/>
          <p:cNvSpPr/>
          <p:nvPr/>
        </p:nvSpPr>
        <p:spPr bwMode="auto">
          <a:xfrm rot="2626462" flipH="1" flipV="1">
            <a:off x="3570206" y="3808443"/>
            <a:ext cx="227070" cy="127897"/>
          </a:xfrm>
          <a:prstGeom prst="rightArrow">
            <a:avLst>
              <a:gd name="adj1" fmla="val 50000"/>
              <a:gd name="adj2" fmla="val 69048"/>
            </a:avLst>
          </a:prstGeom>
          <a:solidFill>
            <a:schemeClr val="bg1">
              <a:lumMod val="75000"/>
            </a:schemeClr>
          </a:solidFill>
          <a:ln w="3175" algn="ctr">
            <a:solidFill>
              <a:srgbClr val="0000FF"/>
            </a:solidFill>
            <a:miter lim="800000"/>
            <a:headEnd/>
            <a:tailEnd/>
          </a:ln>
          <a:extLst/>
        </p:spPr>
        <p:txBody>
          <a:bodyPr lIns="90000" tIns="46800" rIns="90000" bIns="46800" anchor="ctr"/>
          <a:lstStyle/>
          <a:p>
            <a:pPr algn="ctr" eaLnBrk="1" latinLnBrk="1" hangingPunct="1">
              <a:lnSpc>
                <a:spcPct val="110000"/>
              </a:lnSpc>
              <a:defRPr/>
            </a:pPr>
            <a:endParaRPr lang="ko-KR" altLang="en-US" sz="1100" u="sng" dirty="0">
              <a:solidFill>
                <a:srgbClr val="EEECE1">
                  <a:lumMod val="25000"/>
                </a:srgbClr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39" name="TextBox 36"/>
          <p:cNvSpPr txBox="1">
            <a:spLocks noChangeArrowheads="1"/>
          </p:cNvSpPr>
          <p:nvPr/>
        </p:nvSpPr>
        <p:spPr bwMode="auto">
          <a:xfrm>
            <a:off x="3640954" y="3909354"/>
            <a:ext cx="386943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dirty="0" smtClean="0">
                <a:solidFill>
                  <a:schemeClr val="bg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</a:t>
            </a:r>
            <a:endParaRPr lang="en-US" altLang="ko-KR" sz="900" dirty="0">
              <a:solidFill>
                <a:schemeClr val="bg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0" name="TextBox 36"/>
          <p:cNvSpPr txBox="1">
            <a:spLocks noChangeArrowheads="1"/>
          </p:cNvSpPr>
          <p:nvPr/>
        </p:nvSpPr>
        <p:spPr bwMode="auto">
          <a:xfrm>
            <a:off x="3030485" y="5333461"/>
            <a:ext cx="386943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</a:t>
            </a:r>
            <a:endParaRPr lang="en-US" altLang="ko-KR" sz="9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45252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오른쪽 화살표 94"/>
          <p:cNvSpPr/>
          <p:nvPr/>
        </p:nvSpPr>
        <p:spPr>
          <a:xfrm rot="5400000">
            <a:off x="3901131" y="4185287"/>
            <a:ext cx="2731259" cy="220663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1270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1272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49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None/>
            </a:pPr>
            <a:r>
              <a:rPr lang="ko-KR" altLang="en-US" sz="1600" dirty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 공급 프로세스에서 각 단계의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낭비 요소를 확인함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를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기준으로 폐수 처리함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1289" name="Freeform 117"/>
          <p:cNvSpPr>
            <a:spLocks/>
          </p:cNvSpPr>
          <p:nvPr/>
        </p:nvSpPr>
        <p:spPr bwMode="auto">
          <a:xfrm flipV="1">
            <a:off x="2221209" y="2922370"/>
            <a:ext cx="3163839" cy="455318"/>
          </a:xfrm>
          <a:custGeom>
            <a:avLst/>
            <a:gdLst>
              <a:gd name="T0" fmla="*/ 3198374 w 10000"/>
              <a:gd name="T1" fmla="*/ 299833 h 10000"/>
              <a:gd name="T2" fmla="*/ 3204784 w 10000"/>
              <a:gd name="T3" fmla="*/ 0 h 10000"/>
              <a:gd name="T4" fmla="*/ 0 w 10000"/>
              <a:gd name="T5" fmla="*/ 28243 h 10000"/>
              <a:gd name="T6" fmla="*/ 5769 w 10000"/>
              <a:gd name="T7" fmla="*/ 315913 h 10000"/>
              <a:gd name="T8" fmla="*/ 0 60000 65536"/>
              <a:gd name="T9" fmla="*/ 0 60000 65536"/>
              <a:gd name="T10" fmla="*/ 0 60000 65536"/>
              <a:gd name="T11" fmla="*/ 0 60000 65536"/>
              <a:gd name="connsiteX0" fmla="*/ 9965 w 9985"/>
              <a:gd name="connsiteY0" fmla="*/ 9491 h 10000"/>
              <a:gd name="connsiteX1" fmla="*/ 9985 w 9985"/>
              <a:gd name="connsiteY1" fmla="*/ 0 h 10000"/>
              <a:gd name="connsiteX2" fmla="*/ 35 w 9985"/>
              <a:gd name="connsiteY2" fmla="*/ 249 h 10000"/>
              <a:gd name="connsiteX3" fmla="*/ 3 w 9985"/>
              <a:gd name="connsiteY3" fmla="*/ 10000 h 10000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249 h 10000"/>
              <a:gd name="connsiteX3" fmla="*/ 3 w 10000"/>
              <a:gd name="connsiteY3" fmla="*/ 10000 h 10000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132 h 10000"/>
              <a:gd name="connsiteX3" fmla="*/ 3 w 10000"/>
              <a:gd name="connsiteY3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9980" y="9491"/>
                </a:moveTo>
                <a:cubicBezTo>
                  <a:pt x="10006" y="6243"/>
                  <a:pt x="9974" y="3248"/>
                  <a:pt x="10000" y="0"/>
                </a:cubicBezTo>
                <a:lnTo>
                  <a:pt x="35" y="132"/>
                </a:lnTo>
                <a:cubicBezTo>
                  <a:pt x="48" y="3082"/>
                  <a:pt x="-12" y="7049"/>
                  <a:pt x="3" y="10000"/>
                </a:cubicBezTo>
              </a:path>
            </a:pathLst>
          </a:custGeom>
          <a:noFill/>
          <a:ln w="22225" cap="flat" cmpd="sng">
            <a:solidFill>
              <a:srgbClr val="0000FF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56" name="TextBox 55"/>
          <p:cNvSpPr txBox="1"/>
          <p:nvPr/>
        </p:nvSpPr>
        <p:spPr>
          <a:xfrm>
            <a:off x="4496651" y="3235042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grpSp>
        <p:nvGrpSpPr>
          <p:cNvPr id="57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57"/>
            <a:chExt cx="2593033" cy="346410"/>
          </a:xfrm>
        </p:grpSpPr>
        <p:sp>
          <p:nvSpPr>
            <p:cNvPr id="58" name="AutoShape 4"/>
            <p:cNvSpPr>
              <a:spLocks noChangeArrowheads="1"/>
            </p:cNvSpPr>
            <p:nvPr/>
          </p:nvSpPr>
          <p:spPr bwMode="auto">
            <a:xfrm>
              <a:off x="8454145" y="135207"/>
              <a:ext cx="593037" cy="268467"/>
            </a:xfrm>
            <a:prstGeom prst="homePlate">
              <a:avLst>
                <a:gd name="adj" fmla="val 21640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59" name="AutoShape 6"/>
            <p:cNvSpPr>
              <a:spLocks noChangeArrowheads="1"/>
            </p:cNvSpPr>
            <p:nvPr/>
          </p:nvSpPr>
          <p:spPr bwMode="auto">
            <a:xfrm>
              <a:off x="7959548" y="135207"/>
              <a:ext cx="593037" cy="268467"/>
            </a:xfrm>
            <a:prstGeom prst="homePlate">
              <a:avLst>
                <a:gd name="adj" fmla="val 2126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0" name="AutoShape 8"/>
            <p:cNvSpPr>
              <a:spLocks noChangeArrowheads="1"/>
            </p:cNvSpPr>
            <p:nvPr/>
          </p:nvSpPr>
          <p:spPr bwMode="auto">
            <a:xfrm>
              <a:off x="7464951" y="67657"/>
              <a:ext cx="590635" cy="268468"/>
            </a:xfrm>
            <a:prstGeom prst="homePlate">
              <a:avLst>
                <a:gd name="adj" fmla="val 25372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1" name="AutoShape 10"/>
            <p:cNvSpPr>
              <a:spLocks noChangeArrowheads="1"/>
            </p:cNvSpPr>
            <p:nvPr/>
          </p:nvSpPr>
          <p:spPr bwMode="auto">
            <a:xfrm>
              <a:off x="6967954" y="145600"/>
              <a:ext cx="593035" cy="268467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62" name="AutoShape 12"/>
            <p:cNvSpPr>
              <a:spLocks noChangeArrowheads="1"/>
            </p:cNvSpPr>
            <p:nvPr/>
          </p:nvSpPr>
          <p:spPr bwMode="auto">
            <a:xfrm>
              <a:off x="6454149" y="145600"/>
              <a:ext cx="593035" cy="268467"/>
            </a:xfrm>
            <a:prstGeom prst="homePlate">
              <a:avLst>
                <a:gd name="adj" fmla="val 254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63" name="Text Box 4"/>
          <p:cNvSpPr txBox="1">
            <a:spLocks noChangeArrowheads="1"/>
          </p:cNvSpPr>
          <p:nvPr/>
        </p:nvSpPr>
        <p:spPr bwMode="auto">
          <a:xfrm>
            <a:off x="57150" y="76200"/>
            <a:ext cx="2932213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A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상수 공급 프로세스 검토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4" name="TextBox 36"/>
          <p:cNvSpPr txBox="1">
            <a:spLocks noChangeArrowheads="1"/>
          </p:cNvSpPr>
          <p:nvPr/>
        </p:nvSpPr>
        <p:spPr bwMode="auto">
          <a:xfrm>
            <a:off x="3296816" y="3396747"/>
            <a:ext cx="1252564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완료된 폐수 재사용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65" name="그림 4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63" r="21545" b="10254"/>
          <a:stretch>
            <a:fillRect/>
          </a:stretch>
        </p:blipFill>
        <p:spPr bwMode="auto">
          <a:xfrm>
            <a:off x="4936157" y="1878013"/>
            <a:ext cx="803275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93" descr="tank_vent fil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7621016" y="1914525"/>
            <a:ext cx="50323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93" descr="tank_vent fil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1860649" y="1836738"/>
            <a:ext cx="503237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TextBox 36"/>
          <p:cNvSpPr txBox="1">
            <a:spLocks noChangeArrowheads="1"/>
          </p:cNvSpPr>
          <p:nvPr/>
        </p:nvSpPr>
        <p:spPr bwMode="auto">
          <a:xfrm>
            <a:off x="1838638" y="2552700"/>
            <a:ext cx="637012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  <a:b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9Ton/h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9" name="오른쪽 화살표 68"/>
          <p:cNvSpPr/>
          <p:nvPr/>
        </p:nvSpPr>
        <p:spPr>
          <a:xfrm>
            <a:off x="2448718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0" name="TextBox 36"/>
          <p:cNvSpPr txBox="1">
            <a:spLocks noChangeArrowheads="1"/>
          </p:cNvSpPr>
          <p:nvPr/>
        </p:nvSpPr>
        <p:spPr bwMode="auto">
          <a:xfrm>
            <a:off x="2896616" y="2708275"/>
            <a:ext cx="4889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1" name="오른쪽 화살표 70"/>
          <p:cNvSpPr/>
          <p:nvPr/>
        </p:nvSpPr>
        <p:spPr>
          <a:xfrm>
            <a:off x="3528838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2" name="TextBox 36"/>
          <p:cNvSpPr txBox="1">
            <a:spLocks noChangeArrowheads="1"/>
          </p:cNvSpPr>
          <p:nvPr/>
        </p:nvSpPr>
        <p:spPr bwMode="auto">
          <a:xfrm>
            <a:off x="3613422" y="2552700"/>
            <a:ext cx="100488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oftened Water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</a:p>
        </p:txBody>
      </p:sp>
      <p:sp>
        <p:nvSpPr>
          <p:cNvPr id="73" name="오른쪽 화살표 72"/>
          <p:cNvSpPr/>
          <p:nvPr/>
        </p:nvSpPr>
        <p:spPr>
          <a:xfrm>
            <a:off x="4536950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4" name="TextBox 36"/>
          <p:cNvSpPr txBox="1">
            <a:spLocks noChangeArrowheads="1"/>
          </p:cNvSpPr>
          <p:nvPr/>
        </p:nvSpPr>
        <p:spPr bwMode="auto">
          <a:xfrm>
            <a:off x="4704382" y="2564904"/>
            <a:ext cx="1331912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삼투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RO, Reverse Osmosis)</a:t>
            </a:r>
          </a:p>
        </p:txBody>
      </p:sp>
      <p:sp>
        <p:nvSpPr>
          <p:cNvPr id="75" name="오른쪽 화살표 74"/>
          <p:cNvSpPr/>
          <p:nvPr/>
        </p:nvSpPr>
        <p:spPr>
          <a:xfrm>
            <a:off x="5870124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6" name="TextBox 36"/>
          <p:cNvSpPr txBox="1">
            <a:spLocks noChangeArrowheads="1"/>
          </p:cNvSpPr>
          <p:nvPr/>
        </p:nvSpPr>
        <p:spPr bwMode="auto">
          <a:xfrm>
            <a:off x="5963666" y="2547938"/>
            <a:ext cx="15716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기탈이온장치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EDI, Electro De-Ionization)</a:t>
            </a:r>
          </a:p>
        </p:txBody>
      </p:sp>
      <p:sp>
        <p:nvSpPr>
          <p:cNvPr id="77" name="오른쪽 화살표 76"/>
          <p:cNvSpPr/>
          <p:nvPr/>
        </p:nvSpPr>
        <p:spPr>
          <a:xfrm>
            <a:off x="7405116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8" name="TextBox 36"/>
          <p:cNvSpPr txBox="1">
            <a:spLocks noChangeArrowheads="1"/>
          </p:cNvSpPr>
          <p:nvPr/>
        </p:nvSpPr>
        <p:spPr bwMode="auto">
          <a:xfrm>
            <a:off x="7648028" y="2605088"/>
            <a:ext cx="600142" cy="51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torag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  <a:b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Ton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9" name="TextBox 36"/>
          <p:cNvSpPr txBox="1">
            <a:spLocks noChangeArrowheads="1"/>
          </p:cNvSpPr>
          <p:nvPr/>
        </p:nvSpPr>
        <p:spPr bwMode="auto">
          <a:xfrm>
            <a:off x="4483868" y="1675408"/>
            <a:ext cx="5207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②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0" name="TextBox 36"/>
          <p:cNvSpPr txBox="1">
            <a:spLocks noChangeArrowheads="1"/>
          </p:cNvSpPr>
          <p:nvPr/>
        </p:nvSpPr>
        <p:spPr bwMode="auto">
          <a:xfrm>
            <a:off x="1555700" y="1689373"/>
            <a:ext cx="5207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①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1" name="Picture 93" descr="tank_vent fil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3804864" y="1844675"/>
            <a:ext cx="50323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그림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3" b="52242"/>
          <a:stretch>
            <a:fillRect/>
          </a:stretch>
        </p:blipFill>
        <p:spPr bwMode="auto">
          <a:xfrm>
            <a:off x="6179566" y="1912938"/>
            <a:ext cx="1033463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" name="TextBox 36"/>
          <p:cNvSpPr txBox="1">
            <a:spLocks noChangeArrowheads="1"/>
          </p:cNvSpPr>
          <p:nvPr/>
        </p:nvSpPr>
        <p:spPr bwMode="auto">
          <a:xfrm>
            <a:off x="4384632" y="1503835"/>
            <a:ext cx="715558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66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4" name="TextBox 36"/>
          <p:cNvSpPr txBox="1">
            <a:spLocks noChangeArrowheads="1"/>
          </p:cNvSpPr>
          <p:nvPr/>
        </p:nvSpPr>
        <p:spPr bwMode="auto">
          <a:xfrm>
            <a:off x="5638526" y="1503835"/>
            <a:ext cx="70485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4.5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5" name="TextBox 36"/>
          <p:cNvSpPr txBox="1">
            <a:spLocks noChangeArrowheads="1"/>
          </p:cNvSpPr>
          <p:nvPr/>
        </p:nvSpPr>
        <p:spPr bwMode="auto">
          <a:xfrm>
            <a:off x="7044406" y="1503835"/>
            <a:ext cx="778075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05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6" name="TextBox 36"/>
          <p:cNvSpPr txBox="1">
            <a:spLocks noChangeArrowheads="1"/>
          </p:cNvSpPr>
          <p:nvPr/>
        </p:nvSpPr>
        <p:spPr bwMode="auto">
          <a:xfrm>
            <a:off x="1512490" y="1503835"/>
            <a:ext cx="68262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8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87" name="오른쪽 화살표 86"/>
          <p:cNvSpPr/>
          <p:nvPr/>
        </p:nvSpPr>
        <p:spPr>
          <a:xfrm>
            <a:off x="1619953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88" name="그림 5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45" y="1960563"/>
            <a:ext cx="846137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TextBox 36"/>
          <p:cNvSpPr txBox="1">
            <a:spLocks noChangeArrowheads="1"/>
          </p:cNvSpPr>
          <p:nvPr/>
        </p:nvSpPr>
        <p:spPr bwMode="auto">
          <a:xfrm>
            <a:off x="570482" y="2552700"/>
            <a:ext cx="82391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City Water)</a:t>
            </a:r>
          </a:p>
        </p:txBody>
      </p:sp>
      <p:pic>
        <p:nvPicPr>
          <p:cNvPr id="90" name="그림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318" y="1749425"/>
            <a:ext cx="674688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오른쪽 화살표 90"/>
          <p:cNvSpPr/>
          <p:nvPr/>
        </p:nvSpPr>
        <p:spPr>
          <a:xfrm>
            <a:off x="8229029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92" name="그림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6054" y="1949450"/>
            <a:ext cx="9334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" name="TextBox 36"/>
          <p:cNvSpPr txBox="1">
            <a:spLocks noChangeArrowheads="1"/>
          </p:cNvSpPr>
          <p:nvPr/>
        </p:nvSpPr>
        <p:spPr bwMode="auto">
          <a:xfrm>
            <a:off x="8700516" y="2632075"/>
            <a:ext cx="6238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r>
              <a:rPr lang="en-US" altLang="ko-KR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급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97" name="그림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2119" y="4581128"/>
            <a:ext cx="759114" cy="505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" name="TextBox 36"/>
          <p:cNvSpPr txBox="1">
            <a:spLocks noChangeArrowheads="1"/>
          </p:cNvSpPr>
          <p:nvPr/>
        </p:nvSpPr>
        <p:spPr bwMode="auto">
          <a:xfrm>
            <a:off x="3175745" y="5086242"/>
            <a:ext cx="2065287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후 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5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0 ~ 600 </a:t>
            </a:r>
            <a:r>
              <a:rPr lang="el-GR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높은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의 </a:t>
            </a:r>
            <a:r>
              <a:rPr lang="ko-KR" altLang="en-US" sz="9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농축수는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폐수 처리됨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9" name="TextBox 36"/>
          <p:cNvSpPr txBox="1">
            <a:spLocks noChangeArrowheads="1"/>
          </p:cNvSpPr>
          <p:nvPr/>
        </p:nvSpPr>
        <p:spPr bwMode="auto">
          <a:xfrm>
            <a:off x="5694857" y="1673250"/>
            <a:ext cx="521594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③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0" name="TextBox 36"/>
          <p:cNvSpPr txBox="1">
            <a:spLocks noChangeArrowheads="1"/>
          </p:cNvSpPr>
          <p:nvPr/>
        </p:nvSpPr>
        <p:spPr bwMode="auto">
          <a:xfrm>
            <a:off x="7143542" y="1673207"/>
            <a:ext cx="521595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④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193004" y="2723035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1" name="오른쪽 화살표 50"/>
          <p:cNvSpPr/>
          <p:nvPr/>
        </p:nvSpPr>
        <p:spPr>
          <a:xfrm rot="5400000">
            <a:off x="5921457" y="3800402"/>
            <a:ext cx="1916853" cy="220663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FFC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52" name="그림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731" y="3499951"/>
            <a:ext cx="759114" cy="505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TextBox 36"/>
          <p:cNvSpPr txBox="1">
            <a:spLocks noChangeArrowheads="1"/>
          </p:cNvSpPr>
          <p:nvPr/>
        </p:nvSpPr>
        <p:spPr bwMode="auto">
          <a:xfrm>
            <a:off x="6961723" y="3999109"/>
            <a:ext cx="1476985" cy="51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농축수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폐기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4 ~ 5 </a:t>
            </a:r>
            <a:r>
              <a:rPr lang="el-GR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상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높은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의 </a:t>
            </a:r>
            <a:r>
              <a:rPr lang="ko-KR" altLang="en-US" sz="9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농축수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폐기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578433" y="3645024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55" name="TextBox 36"/>
          <p:cNvSpPr txBox="1">
            <a:spLocks noChangeArrowheads="1"/>
          </p:cNvSpPr>
          <p:nvPr/>
        </p:nvSpPr>
        <p:spPr bwMode="auto">
          <a:xfrm>
            <a:off x="5383405" y="3794755"/>
            <a:ext cx="1273402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DI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완료된 폐수 재사용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4" name="Freeform 117"/>
          <p:cNvSpPr>
            <a:spLocks/>
          </p:cNvSpPr>
          <p:nvPr/>
        </p:nvSpPr>
        <p:spPr bwMode="auto">
          <a:xfrm flipV="1">
            <a:off x="2282404" y="2909318"/>
            <a:ext cx="874735" cy="175544"/>
          </a:xfrm>
          <a:custGeom>
            <a:avLst/>
            <a:gdLst>
              <a:gd name="T0" fmla="*/ 3198374 w 10000"/>
              <a:gd name="T1" fmla="*/ 299833 h 10000"/>
              <a:gd name="T2" fmla="*/ 3204784 w 10000"/>
              <a:gd name="T3" fmla="*/ 0 h 10000"/>
              <a:gd name="T4" fmla="*/ 0 w 10000"/>
              <a:gd name="T5" fmla="*/ 28243 h 10000"/>
              <a:gd name="T6" fmla="*/ 5769 w 10000"/>
              <a:gd name="T7" fmla="*/ 315913 h 10000"/>
              <a:gd name="T8" fmla="*/ 0 60000 65536"/>
              <a:gd name="T9" fmla="*/ 0 60000 65536"/>
              <a:gd name="T10" fmla="*/ 0 60000 65536"/>
              <a:gd name="T11" fmla="*/ 0 60000 65536"/>
              <a:gd name="connsiteX0" fmla="*/ 9965 w 9985"/>
              <a:gd name="connsiteY0" fmla="*/ 9491 h 10000"/>
              <a:gd name="connsiteX1" fmla="*/ 9985 w 9985"/>
              <a:gd name="connsiteY1" fmla="*/ 0 h 10000"/>
              <a:gd name="connsiteX2" fmla="*/ 35 w 9985"/>
              <a:gd name="connsiteY2" fmla="*/ 249 h 10000"/>
              <a:gd name="connsiteX3" fmla="*/ 3 w 9985"/>
              <a:gd name="connsiteY3" fmla="*/ 10000 h 10000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249 h 10000"/>
              <a:gd name="connsiteX3" fmla="*/ 3 w 10000"/>
              <a:gd name="connsiteY3" fmla="*/ 10000 h 10000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132 h 10000"/>
              <a:gd name="connsiteX3" fmla="*/ 3 w 10000"/>
              <a:gd name="connsiteY3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9980" y="9491"/>
                </a:moveTo>
                <a:cubicBezTo>
                  <a:pt x="10006" y="6243"/>
                  <a:pt x="9974" y="3248"/>
                  <a:pt x="10000" y="0"/>
                </a:cubicBezTo>
                <a:lnTo>
                  <a:pt x="35" y="132"/>
                </a:lnTo>
                <a:cubicBezTo>
                  <a:pt x="48" y="3082"/>
                  <a:pt x="-12" y="7049"/>
                  <a:pt x="3" y="10000"/>
                </a:cubicBezTo>
              </a:path>
            </a:pathLst>
          </a:custGeom>
          <a:noFill/>
          <a:ln w="22225" cap="flat" cmpd="sng">
            <a:solidFill>
              <a:srgbClr val="0000FF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96" name="TextBox 36"/>
          <p:cNvSpPr txBox="1">
            <a:spLocks noChangeArrowheads="1"/>
          </p:cNvSpPr>
          <p:nvPr/>
        </p:nvSpPr>
        <p:spPr bwMode="auto">
          <a:xfrm>
            <a:off x="2188268" y="3068960"/>
            <a:ext cx="1303860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 완료 폐수 재사용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4" name="TextBox 36"/>
          <p:cNvSpPr txBox="1">
            <a:spLocks noChangeArrowheads="1"/>
          </p:cNvSpPr>
          <p:nvPr/>
        </p:nvSpPr>
        <p:spPr bwMode="auto">
          <a:xfrm>
            <a:off x="4604653" y="3427984"/>
            <a:ext cx="62418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인자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②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5" name="TextBox 36"/>
          <p:cNvSpPr txBox="1">
            <a:spLocks noChangeArrowheads="1"/>
          </p:cNvSpPr>
          <p:nvPr/>
        </p:nvSpPr>
        <p:spPr bwMode="auto">
          <a:xfrm>
            <a:off x="3284125" y="2924944"/>
            <a:ext cx="62418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인자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①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106" name="TextBox 36"/>
          <p:cNvSpPr txBox="1">
            <a:spLocks noChangeArrowheads="1"/>
          </p:cNvSpPr>
          <p:nvPr/>
        </p:nvSpPr>
        <p:spPr bwMode="auto">
          <a:xfrm>
            <a:off x="6273029" y="3999122"/>
            <a:ext cx="62418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인자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③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50" name="Freeform 117"/>
          <p:cNvSpPr>
            <a:spLocks/>
          </p:cNvSpPr>
          <p:nvPr/>
        </p:nvSpPr>
        <p:spPr bwMode="auto">
          <a:xfrm flipV="1">
            <a:off x="2115681" y="2917654"/>
            <a:ext cx="4637520" cy="887288"/>
          </a:xfrm>
          <a:custGeom>
            <a:avLst/>
            <a:gdLst>
              <a:gd name="T0" fmla="*/ 3198374 w 10000"/>
              <a:gd name="T1" fmla="*/ 299833 h 10000"/>
              <a:gd name="T2" fmla="*/ 3204784 w 10000"/>
              <a:gd name="T3" fmla="*/ 0 h 10000"/>
              <a:gd name="T4" fmla="*/ 0 w 10000"/>
              <a:gd name="T5" fmla="*/ 28243 h 10000"/>
              <a:gd name="T6" fmla="*/ 5769 w 10000"/>
              <a:gd name="T7" fmla="*/ 315913 h 10000"/>
              <a:gd name="T8" fmla="*/ 0 60000 65536"/>
              <a:gd name="T9" fmla="*/ 0 60000 65536"/>
              <a:gd name="T10" fmla="*/ 0 60000 65536"/>
              <a:gd name="T11" fmla="*/ 0 60000 65536"/>
              <a:gd name="connsiteX0" fmla="*/ 9965 w 9985"/>
              <a:gd name="connsiteY0" fmla="*/ 9491 h 10000"/>
              <a:gd name="connsiteX1" fmla="*/ 9985 w 9985"/>
              <a:gd name="connsiteY1" fmla="*/ 0 h 10000"/>
              <a:gd name="connsiteX2" fmla="*/ 35 w 9985"/>
              <a:gd name="connsiteY2" fmla="*/ 249 h 10000"/>
              <a:gd name="connsiteX3" fmla="*/ 3 w 9985"/>
              <a:gd name="connsiteY3" fmla="*/ 10000 h 10000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249 h 10000"/>
              <a:gd name="connsiteX3" fmla="*/ 3 w 10000"/>
              <a:gd name="connsiteY3" fmla="*/ 10000 h 10000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132 h 10000"/>
              <a:gd name="connsiteX3" fmla="*/ 3 w 10000"/>
              <a:gd name="connsiteY3" fmla="*/ 10000 h 10000"/>
              <a:gd name="connsiteX0" fmla="*/ 9981 w 10001"/>
              <a:gd name="connsiteY0" fmla="*/ 9491 h 10000"/>
              <a:gd name="connsiteX1" fmla="*/ 10001 w 10001"/>
              <a:gd name="connsiteY1" fmla="*/ 0 h 10000"/>
              <a:gd name="connsiteX2" fmla="*/ 2 w 10001"/>
              <a:gd name="connsiteY2" fmla="*/ 132 h 10000"/>
              <a:gd name="connsiteX3" fmla="*/ 4 w 10001"/>
              <a:gd name="connsiteY3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1" h="10000">
                <a:moveTo>
                  <a:pt x="9981" y="9491"/>
                </a:moveTo>
                <a:cubicBezTo>
                  <a:pt x="10007" y="6243"/>
                  <a:pt x="9975" y="3248"/>
                  <a:pt x="10001" y="0"/>
                </a:cubicBezTo>
                <a:lnTo>
                  <a:pt x="2" y="132"/>
                </a:lnTo>
                <a:cubicBezTo>
                  <a:pt x="15" y="3082"/>
                  <a:pt x="-11" y="7049"/>
                  <a:pt x="4" y="10000"/>
                </a:cubicBezTo>
              </a:path>
            </a:pathLst>
          </a:custGeom>
          <a:noFill/>
          <a:ln w="22225" cap="flat" cmpd="sng">
            <a:solidFill>
              <a:srgbClr val="0000FF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02" name="TextBox 36"/>
          <p:cNvSpPr txBox="1">
            <a:spLocks noChangeArrowheads="1"/>
          </p:cNvSpPr>
          <p:nvPr/>
        </p:nvSpPr>
        <p:spPr bwMode="auto">
          <a:xfrm>
            <a:off x="3074756" y="3933056"/>
            <a:ext cx="2166276" cy="51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효율 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5%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임</a:t>
            </a:r>
            <a:endParaRPr lang="en-US" altLang="ko-KR" sz="9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L Supply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되면 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85L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ermeate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되고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              0.15L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ko-KR" altLang="en-US" sz="9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폐수됨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8759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82" name="Text Box 4"/>
          <p:cNvSpPr txBox="1">
            <a:spLocks noChangeArrowheads="1"/>
          </p:cNvSpPr>
          <p:nvPr/>
        </p:nvSpPr>
        <p:spPr bwMode="auto">
          <a:xfrm>
            <a:off x="57150" y="76200"/>
            <a:ext cx="3970959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A. </a:t>
            </a:r>
            <a:r>
              <a:rPr lang="ko-KR" altLang="en-US" sz="20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낭비요소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발생 </a:t>
            </a:r>
            <a:r>
              <a:rPr lang="ko-KR" altLang="en-US" sz="20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가인자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① 전처리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후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27652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57"/>
            <a:chExt cx="2593033" cy="346410"/>
          </a:xfrm>
        </p:grpSpPr>
        <p:sp>
          <p:nvSpPr>
            <p:cNvPr id="27653" name="AutoShape 4"/>
            <p:cNvSpPr>
              <a:spLocks noChangeArrowheads="1"/>
            </p:cNvSpPr>
            <p:nvPr/>
          </p:nvSpPr>
          <p:spPr bwMode="auto">
            <a:xfrm>
              <a:off x="8454145" y="135207"/>
              <a:ext cx="593037" cy="268467"/>
            </a:xfrm>
            <a:prstGeom prst="homePlate">
              <a:avLst>
                <a:gd name="adj" fmla="val 21640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4" name="AutoShape 6"/>
            <p:cNvSpPr>
              <a:spLocks noChangeArrowheads="1"/>
            </p:cNvSpPr>
            <p:nvPr/>
          </p:nvSpPr>
          <p:spPr bwMode="auto">
            <a:xfrm>
              <a:off x="7959548" y="135207"/>
              <a:ext cx="593037" cy="268467"/>
            </a:xfrm>
            <a:prstGeom prst="homePlate">
              <a:avLst>
                <a:gd name="adj" fmla="val 2126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5" name="AutoShape 8"/>
            <p:cNvSpPr>
              <a:spLocks noChangeArrowheads="1"/>
            </p:cNvSpPr>
            <p:nvPr/>
          </p:nvSpPr>
          <p:spPr bwMode="auto">
            <a:xfrm>
              <a:off x="7464951" y="67657"/>
              <a:ext cx="590635" cy="268468"/>
            </a:xfrm>
            <a:prstGeom prst="homePlate">
              <a:avLst>
                <a:gd name="adj" fmla="val 25372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6" name="AutoShape 10"/>
            <p:cNvSpPr>
              <a:spLocks noChangeArrowheads="1"/>
            </p:cNvSpPr>
            <p:nvPr/>
          </p:nvSpPr>
          <p:spPr bwMode="auto">
            <a:xfrm>
              <a:off x="6967954" y="145600"/>
              <a:ext cx="593035" cy="268467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7" name="AutoShape 12"/>
            <p:cNvSpPr>
              <a:spLocks noChangeArrowheads="1"/>
            </p:cNvSpPr>
            <p:nvPr/>
          </p:nvSpPr>
          <p:spPr bwMode="auto">
            <a:xfrm>
              <a:off x="6454149" y="145600"/>
              <a:ext cx="593035" cy="268467"/>
            </a:xfrm>
            <a:prstGeom prst="homePlate">
              <a:avLst>
                <a:gd name="adj" fmla="val 254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 단계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여과 및 연수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낭비요소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발생 인자라고 볼 수 없음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0" name="Picture 93" descr="tank_vent filt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1860649" y="1836738"/>
            <a:ext cx="503237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36"/>
          <p:cNvSpPr txBox="1">
            <a:spLocks noChangeArrowheads="1"/>
          </p:cNvSpPr>
          <p:nvPr/>
        </p:nvSpPr>
        <p:spPr bwMode="auto">
          <a:xfrm>
            <a:off x="1838638" y="2552700"/>
            <a:ext cx="637012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  <a:b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9Ton/h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2" name="오른쪽 화살표 21"/>
          <p:cNvSpPr/>
          <p:nvPr/>
        </p:nvSpPr>
        <p:spPr>
          <a:xfrm>
            <a:off x="2448718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3" name="TextBox 36"/>
          <p:cNvSpPr txBox="1">
            <a:spLocks noChangeArrowheads="1"/>
          </p:cNvSpPr>
          <p:nvPr/>
        </p:nvSpPr>
        <p:spPr bwMode="auto">
          <a:xfrm>
            <a:off x="2896616" y="2708275"/>
            <a:ext cx="4889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</a:t>
            </a:r>
            <a:endParaRPr lang="en-US" altLang="ko-KR" sz="900" b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4" name="오른쪽 화살표 23"/>
          <p:cNvSpPr/>
          <p:nvPr/>
        </p:nvSpPr>
        <p:spPr>
          <a:xfrm>
            <a:off x="3528838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5" name="TextBox 36"/>
          <p:cNvSpPr txBox="1">
            <a:spLocks noChangeArrowheads="1"/>
          </p:cNvSpPr>
          <p:nvPr/>
        </p:nvSpPr>
        <p:spPr bwMode="auto">
          <a:xfrm>
            <a:off x="3613422" y="2552700"/>
            <a:ext cx="100488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oftened Water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Tank</a:t>
            </a:r>
          </a:p>
        </p:txBody>
      </p:sp>
      <p:sp>
        <p:nvSpPr>
          <p:cNvPr id="34" name="TextBox 36"/>
          <p:cNvSpPr txBox="1">
            <a:spLocks noChangeArrowheads="1"/>
          </p:cNvSpPr>
          <p:nvPr/>
        </p:nvSpPr>
        <p:spPr bwMode="auto">
          <a:xfrm>
            <a:off x="1555700" y="1689373"/>
            <a:ext cx="5207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센서 ①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5" name="Picture 93" descr="tank_vent filt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4" r="27083"/>
          <a:stretch>
            <a:fillRect/>
          </a:stretch>
        </p:blipFill>
        <p:spPr bwMode="auto">
          <a:xfrm>
            <a:off x="3804864" y="1844675"/>
            <a:ext cx="503238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6"/>
          <p:cNvSpPr txBox="1">
            <a:spLocks noChangeArrowheads="1"/>
          </p:cNvSpPr>
          <p:nvPr/>
        </p:nvSpPr>
        <p:spPr bwMode="auto">
          <a:xfrm>
            <a:off x="1512490" y="1503835"/>
            <a:ext cx="68262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78 </a:t>
            </a:r>
            <a:r>
              <a:rPr lang="el-GR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</a:t>
            </a:r>
          </a:p>
        </p:txBody>
      </p:sp>
      <p:sp>
        <p:nvSpPr>
          <p:cNvPr id="41" name="오른쪽 화살표 40"/>
          <p:cNvSpPr/>
          <p:nvPr/>
        </p:nvSpPr>
        <p:spPr>
          <a:xfrm>
            <a:off x="1619953" y="2090738"/>
            <a:ext cx="203200" cy="241300"/>
          </a:xfrm>
          <a:prstGeom prst="rightArrow">
            <a:avLst>
              <a:gd name="adj1" fmla="val 31821"/>
              <a:gd name="adj2" fmla="val 33560"/>
            </a:avLst>
          </a:prstGeom>
          <a:solidFill>
            <a:srgbClr val="00B0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b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2" name="그림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45" y="1960563"/>
            <a:ext cx="846137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Box 36"/>
          <p:cNvSpPr txBox="1">
            <a:spLocks noChangeArrowheads="1"/>
          </p:cNvSpPr>
          <p:nvPr/>
        </p:nvSpPr>
        <p:spPr bwMode="auto">
          <a:xfrm>
            <a:off x="570482" y="2552700"/>
            <a:ext cx="82391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City Water)</a:t>
            </a:r>
          </a:p>
        </p:txBody>
      </p:sp>
      <p:pic>
        <p:nvPicPr>
          <p:cNvPr id="44" name="그림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318" y="1749425"/>
            <a:ext cx="674688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3193004" y="2723035"/>
            <a:ext cx="229230" cy="5539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latin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24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24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0" name="Freeform 117"/>
          <p:cNvSpPr>
            <a:spLocks/>
          </p:cNvSpPr>
          <p:nvPr/>
        </p:nvSpPr>
        <p:spPr bwMode="auto">
          <a:xfrm flipV="1">
            <a:off x="2282404" y="2909318"/>
            <a:ext cx="874735" cy="175544"/>
          </a:xfrm>
          <a:custGeom>
            <a:avLst/>
            <a:gdLst>
              <a:gd name="T0" fmla="*/ 3198374 w 10000"/>
              <a:gd name="T1" fmla="*/ 299833 h 10000"/>
              <a:gd name="T2" fmla="*/ 3204784 w 10000"/>
              <a:gd name="T3" fmla="*/ 0 h 10000"/>
              <a:gd name="T4" fmla="*/ 0 w 10000"/>
              <a:gd name="T5" fmla="*/ 28243 h 10000"/>
              <a:gd name="T6" fmla="*/ 5769 w 10000"/>
              <a:gd name="T7" fmla="*/ 315913 h 10000"/>
              <a:gd name="T8" fmla="*/ 0 60000 65536"/>
              <a:gd name="T9" fmla="*/ 0 60000 65536"/>
              <a:gd name="T10" fmla="*/ 0 60000 65536"/>
              <a:gd name="T11" fmla="*/ 0 60000 65536"/>
              <a:gd name="connsiteX0" fmla="*/ 9965 w 9985"/>
              <a:gd name="connsiteY0" fmla="*/ 9491 h 10000"/>
              <a:gd name="connsiteX1" fmla="*/ 9985 w 9985"/>
              <a:gd name="connsiteY1" fmla="*/ 0 h 10000"/>
              <a:gd name="connsiteX2" fmla="*/ 35 w 9985"/>
              <a:gd name="connsiteY2" fmla="*/ 249 h 10000"/>
              <a:gd name="connsiteX3" fmla="*/ 3 w 9985"/>
              <a:gd name="connsiteY3" fmla="*/ 10000 h 10000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10715 h 11224"/>
              <a:gd name="connsiteX1" fmla="*/ 10000 w 10000"/>
              <a:gd name="connsiteY1" fmla="*/ 1224 h 11224"/>
              <a:gd name="connsiteX2" fmla="*/ 35 w 10000"/>
              <a:gd name="connsiteY2" fmla="*/ 1473 h 11224"/>
              <a:gd name="connsiteX3" fmla="*/ 3 w 10000"/>
              <a:gd name="connsiteY3" fmla="*/ 11224 h 11224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249 h 10000"/>
              <a:gd name="connsiteX3" fmla="*/ 3 w 10000"/>
              <a:gd name="connsiteY3" fmla="*/ 10000 h 10000"/>
              <a:gd name="connsiteX0" fmla="*/ 9980 w 10000"/>
              <a:gd name="connsiteY0" fmla="*/ 9491 h 10000"/>
              <a:gd name="connsiteX1" fmla="*/ 10000 w 10000"/>
              <a:gd name="connsiteY1" fmla="*/ 0 h 10000"/>
              <a:gd name="connsiteX2" fmla="*/ 35 w 10000"/>
              <a:gd name="connsiteY2" fmla="*/ 132 h 10000"/>
              <a:gd name="connsiteX3" fmla="*/ 3 w 10000"/>
              <a:gd name="connsiteY3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9980" y="9491"/>
                </a:moveTo>
                <a:cubicBezTo>
                  <a:pt x="10006" y="6243"/>
                  <a:pt x="9974" y="3248"/>
                  <a:pt x="10000" y="0"/>
                </a:cubicBezTo>
                <a:lnTo>
                  <a:pt x="35" y="132"/>
                </a:lnTo>
                <a:cubicBezTo>
                  <a:pt x="48" y="3082"/>
                  <a:pt x="-12" y="7049"/>
                  <a:pt x="3" y="10000"/>
                </a:cubicBezTo>
              </a:path>
            </a:pathLst>
          </a:custGeom>
          <a:noFill/>
          <a:ln w="22225" cap="flat" cmpd="sng">
            <a:solidFill>
              <a:srgbClr val="0000FF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61" name="TextBox 36"/>
          <p:cNvSpPr txBox="1">
            <a:spLocks noChangeArrowheads="1"/>
          </p:cNvSpPr>
          <p:nvPr/>
        </p:nvSpPr>
        <p:spPr bwMode="auto">
          <a:xfrm>
            <a:off x="2188268" y="3068960"/>
            <a:ext cx="1303860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 완료 폐수 재사용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3" name="TextBox 36"/>
          <p:cNvSpPr txBox="1">
            <a:spLocks noChangeArrowheads="1"/>
          </p:cNvSpPr>
          <p:nvPr/>
        </p:nvSpPr>
        <p:spPr bwMode="auto">
          <a:xfrm>
            <a:off x="3284125" y="2924944"/>
            <a:ext cx="62418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인자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①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66" name="Text Box 359"/>
          <p:cNvSpPr txBox="1">
            <a:spLocks noChangeArrowheads="1"/>
          </p:cNvSpPr>
          <p:nvPr/>
        </p:nvSpPr>
        <p:spPr bwMode="auto">
          <a:xfrm>
            <a:off x="5025008" y="1100638"/>
            <a:ext cx="4123223" cy="4416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여과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Filter)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 필터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左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rbon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右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 활용하여 상수의 불순물을 제거함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반적으로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0um, 5mu, 1um, 0.22um(</a:t>
            </a:r>
            <a:r>
              <a:rPr lang="ko-KR" altLang="en-US" sz="10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균용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규격의 필터를 처리 유량에 적합한 구간에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치하고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외 흡착 능력이 있는 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rbon(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활성탄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재질의 필터도 추가로 설치하여 여과기능을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승시킴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상수 공급량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(9Ton/h)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을 고려하여 현재의 필터가 선정되었으며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  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필터 수량 감소할 시 수처리 기준에 못 미칠 위험성 있음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. </a:t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   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현수준 유지하기로 함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0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수장치</a:t>
            </a: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Softener)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에는 불순물과 미네랄을 비롯해 칼슘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Ca2+),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마그네슘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Mg2+)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등 금속성 이온들이 존재하며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를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경수라고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함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경수가 가진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 양이온을 나트륨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Na+)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온과 교환하여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화시킨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물을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수라고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함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연수 시 폐수 발생하지 않으며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,</a:t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  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연수장치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처리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Capacity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고려하여 현수준 유지하기로 함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4878" y="2708920"/>
            <a:ext cx="2570021" cy="1107583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6803" y="5517233"/>
            <a:ext cx="3912661" cy="936104"/>
          </a:xfrm>
          <a:prstGeom prst="rect">
            <a:avLst/>
          </a:prstGeom>
        </p:spPr>
      </p:pic>
      <p:sp>
        <p:nvSpPr>
          <p:cNvPr id="69" name="Text Box 359"/>
          <p:cNvSpPr txBox="1">
            <a:spLocks noChangeArrowheads="1"/>
          </p:cNvSpPr>
          <p:nvPr/>
        </p:nvSpPr>
        <p:spPr bwMode="auto">
          <a:xfrm>
            <a:off x="794465" y="3822139"/>
            <a:ext cx="394251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정 확인</a:t>
            </a: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처리 공정은 여과와 연수로 구분됨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“Media Filter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rbon Filter 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0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연수장치</a:t>
            </a:r>
            <a:r>
              <a:rPr lang="en-US" altLang="ko-KR" sz="10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Softener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”</a:t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해당</a:t>
            </a: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정에서 낭비 요소가 있는지 확인함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70" name="TextBox 36"/>
          <p:cNvSpPr txBox="1">
            <a:spLocks noChangeArrowheads="1"/>
          </p:cNvSpPr>
          <p:nvPr/>
        </p:nvSpPr>
        <p:spPr bwMode="auto">
          <a:xfrm>
            <a:off x="6321152" y="3861048"/>
            <a:ext cx="1792776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반 필터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左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rbon 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右</a:t>
            </a:r>
            <a:r>
              <a:rPr lang="en-US" altLang="ko-KR" sz="9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sp>
        <p:nvSpPr>
          <p:cNvPr id="182" name="Text Box 4"/>
          <p:cNvSpPr txBox="1">
            <a:spLocks noChangeArrowheads="1"/>
          </p:cNvSpPr>
          <p:nvPr/>
        </p:nvSpPr>
        <p:spPr bwMode="auto">
          <a:xfrm>
            <a:off x="57150" y="76200"/>
            <a:ext cx="4152099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A. </a:t>
            </a:r>
            <a:r>
              <a:rPr lang="ko-KR" altLang="en-US" sz="20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낭비요소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발생 </a:t>
            </a:r>
            <a:r>
              <a:rPr lang="ko-KR" altLang="en-US" sz="20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가인자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② 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RO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완료 후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grpSp>
        <p:nvGrpSpPr>
          <p:cNvPr id="27652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57"/>
            <a:chExt cx="2593033" cy="346410"/>
          </a:xfrm>
        </p:grpSpPr>
        <p:sp>
          <p:nvSpPr>
            <p:cNvPr id="27653" name="AutoShape 4"/>
            <p:cNvSpPr>
              <a:spLocks noChangeArrowheads="1"/>
            </p:cNvSpPr>
            <p:nvPr/>
          </p:nvSpPr>
          <p:spPr bwMode="auto">
            <a:xfrm>
              <a:off x="8454145" y="135207"/>
              <a:ext cx="593037" cy="268467"/>
            </a:xfrm>
            <a:prstGeom prst="homePlate">
              <a:avLst>
                <a:gd name="adj" fmla="val 21640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4" name="AutoShape 6"/>
            <p:cNvSpPr>
              <a:spLocks noChangeArrowheads="1"/>
            </p:cNvSpPr>
            <p:nvPr/>
          </p:nvSpPr>
          <p:spPr bwMode="auto">
            <a:xfrm>
              <a:off x="7959548" y="135207"/>
              <a:ext cx="593037" cy="268467"/>
            </a:xfrm>
            <a:prstGeom prst="homePlate">
              <a:avLst>
                <a:gd name="adj" fmla="val 2126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5" name="AutoShape 8"/>
            <p:cNvSpPr>
              <a:spLocks noChangeArrowheads="1"/>
            </p:cNvSpPr>
            <p:nvPr/>
          </p:nvSpPr>
          <p:spPr bwMode="auto">
            <a:xfrm>
              <a:off x="7464951" y="67657"/>
              <a:ext cx="590635" cy="268468"/>
            </a:xfrm>
            <a:prstGeom prst="homePlate">
              <a:avLst>
                <a:gd name="adj" fmla="val 25372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6" name="AutoShape 10"/>
            <p:cNvSpPr>
              <a:spLocks noChangeArrowheads="1"/>
            </p:cNvSpPr>
            <p:nvPr/>
          </p:nvSpPr>
          <p:spPr bwMode="auto">
            <a:xfrm>
              <a:off x="6967954" y="145600"/>
              <a:ext cx="593035" cy="268467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7657" name="AutoShape 12"/>
            <p:cNvSpPr>
              <a:spLocks noChangeArrowheads="1"/>
            </p:cNvSpPr>
            <p:nvPr/>
          </p:nvSpPr>
          <p:spPr bwMode="auto">
            <a:xfrm>
              <a:off x="6454149" y="145600"/>
              <a:ext cx="593035" cy="268467"/>
            </a:xfrm>
            <a:prstGeom prst="homePlate">
              <a:avLst>
                <a:gd name="adj" fmla="val 254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간과 야간의 전도도 차이가 크고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가 낮은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lean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상수가 야간에 폐기되는 것 확인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23" name="그림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407" y="3110935"/>
            <a:ext cx="1714789" cy="1038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36"/>
          <p:cNvSpPr txBox="1">
            <a:spLocks noChangeArrowheads="1"/>
          </p:cNvSpPr>
          <p:nvPr/>
        </p:nvSpPr>
        <p:spPr bwMode="auto">
          <a:xfrm>
            <a:off x="8354688" y="3196395"/>
            <a:ext cx="1015319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9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계열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그래프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6" name="그림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080" y="3110935"/>
            <a:ext cx="1715512" cy="1038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36"/>
          <p:cNvSpPr txBox="1">
            <a:spLocks noChangeArrowheads="1"/>
          </p:cNvSpPr>
          <p:nvPr/>
        </p:nvSpPr>
        <p:spPr bwMode="auto">
          <a:xfrm>
            <a:off x="6633703" y="3213698"/>
            <a:ext cx="880667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히스토그램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28" name="TextBox 13"/>
          <p:cNvSpPr txBox="1">
            <a:spLocks noChangeArrowheads="1"/>
          </p:cNvSpPr>
          <p:nvPr/>
        </p:nvSpPr>
        <p:spPr bwMode="auto">
          <a:xfrm>
            <a:off x="2085090" y="1100138"/>
            <a:ext cx="779678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</a:t>
            </a:r>
            <a:endParaRPr lang="ko-KR" altLang="en-US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29" name="직선 연결선 28"/>
          <p:cNvCxnSpPr/>
          <p:nvPr/>
        </p:nvCxnSpPr>
        <p:spPr>
          <a:xfrm>
            <a:off x="449263" y="1468438"/>
            <a:ext cx="44338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17"/>
          <p:cNvSpPr txBox="1">
            <a:spLocks noChangeArrowheads="1"/>
          </p:cNvSpPr>
          <p:nvPr/>
        </p:nvSpPr>
        <p:spPr bwMode="auto">
          <a:xfrm>
            <a:off x="6731311" y="1100138"/>
            <a:ext cx="1174017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낭비요소</a:t>
            </a: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확인</a:t>
            </a:r>
            <a:endParaRPr lang="ko-KR" altLang="en-US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31" name="직선 연결선 30"/>
          <p:cNvCxnSpPr/>
          <p:nvPr/>
        </p:nvCxnSpPr>
        <p:spPr>
          <a:xfrm>
            <a:off x="5153025" y="1468438"/>
            <a:ext cx="44354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Box 359"/>
          <p:cNvSpPr txBox="1">
            <a:spLocks noChangeArrowheads="1"/>
          </p:cNvSpPr>
          <p:nvPr/>
        </p:nvSpPr>
        <p:spPr bwMode="auto">
          <a:xfrm>
            <a:off x="848544" y="1700808"/>
            <a:ext cx="4182341" cy="2302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5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삼투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RO, Reverse Osmosis)</a:t>
            </a:r>
            <a:b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삼투압은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농도가 서로 다른 물이 만났을 때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농도가 낮은 쪽에서 높은 쪽으로 물이 이동하면서 생기는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압력을 일컬음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역삼투압은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삼투압의 원리를 반대로 적용하여 </a:t>
            </a:r>
            <a:r>
              <a:rPr lang="ko-KR" altLang="en-US" sz="105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물분자만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반투막을 통과시켜 </a:t>
            </a:r>
            <a:r>
              <a:rPr lang="ko-KR" altLang="en-US" sz="105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순수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용수를 제조하는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장치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5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인자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① 전처리 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및 연수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서 제거되지 못한 염분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유기물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무기물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미립자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박테리아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바이러스 등을 제거하여 </a:t>
            </a:r>
            <a:r>
              <a:rPr lang="ko-KR" altLang="en-US" sz="105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순수로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여과시킴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latinLnBrk="0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효율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pacity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85%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로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1L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 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upply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되면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0.85L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ermeate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되고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0.15L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폐수 처리됨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kumimoji="0" lang="en-US" altLang="ko-KR" sz="1050" b="0" kern="0" dirty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Open Sans" pitchFamily="34" charset="0"/>
            </a:endParaRPr>
          </a:p>
        </p:txBody>
      </p:sp>
      <p:sp>
        <p:nvSpPr>
          <p:cNvPr id="36" name="Text Box 359"/>
          <p:cNvSpPr txBox="1">
            <a:spLocks noChangeArrowheads="1"/>
          </p:cNvSpPr>
          <p:nvPr/>
        </p:nvSpPr>
        <p:spPr bwMode="auto">
          <a:xfrm>
            <a:off x="5600700" y="1700808"/>
            <a:ext cx="3776663" cy="377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데이터 정보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Data :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Point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급 시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후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Data Size : 26,000 +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간 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약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개월 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일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lang="en-US" altLang="ko-KR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20.05.21 ~ 09.08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-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주기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: Every 6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min</a:t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0" indent="0" eaLnBrk="1" hangingPunct="1">
              <a:lnSpc>
                <a:spcPct val="120000"/>
              </a:lnSpc>
              <a:spcBef>
                <a:spcPts val="600"/>
              </a:spcBef>
              <a:buNone/>
            </a:pP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endParaRPr lang="en-US" altLang="ko-KR" sz="105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05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낭비요소</a:t>
            </a:r>
            <a:r>
              <a:rPr lang="ko-KR" altLang="en-US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확인</a:t>
            </a:r>
            <a: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용수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용이 없는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야간에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가 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낮은 </a:t>
            </a:r>
            <a:r>
              <a:rPr lang="ko-KR" altLang="en-US" sz="105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깨끗한</a:t>
            </a:r>
            <a:r>
              <a:rPr lang="en-US" altLang="ko-KR" sz="105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5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가 </a:t>
            </a:r>
            <a:r>
              <a:rPr lang="ko-KR" altLang="en-US" sz="105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폐기</a:t>
            </a:r>
            <a:r>
              <a:rPr lang="ko-KR" altLang="en-US" sz="105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되는 </a:t>
            </a: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것을</a:t>
            </a:r>
            <a: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05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인함</a:t>
            </a:r>
            <a:endParaRPr lang="en-US" altLang="ko-KR" sz="105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37" name="그림 5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584" y="4188710"/>
            <a:ext cx="856652" cy="1522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그림 5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279" y="4188710"/>
            <a:ext cx="2707522" cy="1522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Box 36"/>
          <p:cNvSpPr txBox="1">
            <a:spLocks noChangeArrowheads="1"/>
          </p:cNvSpPr>
          <p:nvPr/>
        </p:nvSpPr>
        <p:spPr bwMode="auto">
          <a:xfrm>
            <a:off x="2465502" y="5772886"/>
            <a:ext cx="877461" cy="248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 </a:t>
            </a:r>
            <a:r>
              <a:rPr lang="ko-KR" altLang="en-US" sz="10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필터 실물</a:t>
            </a:r>
            <a:endParaRPr lang="en-US" altLang="ko-KR" sz="10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42" name="그림 4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3" r="11038"/>
          <a:stretch/>
        </p:blipFill>
        <p:spPr bwMode="auto">
          <a:xfrm>
            <a:off x="7617296" y="4437112"/>
            <a:ext cx="1690971" cy="120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타원 43"/>
          <p:cNvSpPr/>
          <p:nvPr/>
        </p:nvSpPr>
        <p:spPr>
          <a:xfrm>
            <a:off x="8114572" y="4894031"/>
            <a:ext cx="319088" cy="263161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/>
          </a:p>
        </p:txBody>
      </p:sp>
      <p:sp>
        <p:nvSpPr>
          <p:cNvPr id="46" name="TextBox 59"/>
          <p:cNvSpPr txBox="1">
            <a:spLocks noChangeArrowheads="1"/>
          </p:cNvSpPr>
          <p:nvPr/>
        </p:nvSpPr>
        <p:spPr bwMode="auto">
          <a:xfrm>
            <a:off x="7638145" y="5301208"/>
            <a:ext cx="446968" cy="3097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폐기되는</a:t>
            </a:r>
            <a:endParaRPr lang="en-US" altLang="ko-KR" sz="800" dirty="0" smtClean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8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상수</a:t>
            </a:r>
            <a:endParaRPr lang="ko-KR" altLang="en-US" sz="8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5" name="오른쪽 화살표 44"/>
          <p:cNvSpPr/>
          <p:nvPr/>
        </p:nvSpPr>
        <p:spPr bwMode="auto">
          <a:xfrm rot="7126462" flipH="1" flipV="1">
            <a:off x="8016161" y="5179498"/>
            <a:ext cx="187661" cy="140687"/>
          </a:xfrm>
          <a:prstGeom prst="rightArrow">
            <a:avLst>
              <a:gd name="adj1" fmla="val 50000"/>
              <a:gd name="adj2" fmla="val 69048"/>
            </a:avLst>
          </a:prstGeom>
          <a:solidFill>
            <a:schemeClr val="bg1">
              <a:lumMod val="75000"/>
            </a:schemeClr>
          </a:solidFill>
          <a:ln w="3175" algn="ctr">
            <a:solidFill>
              <a:srgbClr val="0000FF"/>
            </a:solidFill>
            <a:miter lim="800000"/>
            <a:headEnd/>
            <a:tailEnd/>
          </a:ln>
          <a:extLst/>
        </p:spPr>
        <p:txBody>
          <a:bodyPr lIns="90000" tIns="46800" rIns="90000" bIns="46800" anchor="ctr"/>
          <a:lstStyle/>
          <a:p>
            <a:pPr algn="ctr" eaLnBrk="1" latinLnBrk="1" hangingPunct="1">
              <a:lnSpc>
                <a:spcPct val="110000"/>
              </a:lnSpc>
              <a:defRPr/>
            </a:pPr>
            <a:endParaRPr lang="ko-KR" altLang="en-US" sz="1100" u="sng" dirty="0">
              <a:solidFill>
                <a:srgbClr val="EEECE1">
                  <a:lumMod val="25000"/>
                </a:srgbClr>
              </a:solidFill>
              <a:latin typeface="LG스마트체 Regular" pitchFamily="50" charset="-127"/>
              <a:ea typeface="LG스마트체 Regular" pitchFamily="50" charset="-127"/>
            </a:endParaRPr>
          </a:p>
        </p:txBody>
      </p:sp>
      <p:sp>
        <p:nvSpPr>
          <p:cNvPr id="47" name="Text Box 228"/>
          <p:cNvSpPr txBox="1">
            <a:spLocks noChangeArrowheads="1"/>
          </p:cNvSpPr>
          <p:nvPr/>
        </p:nvSpPr>
        <p:spPr bwMode="auto">
          <a:xfrm>
            <a:off x="4104806" y="108681"/>
            <a:ext cx="3968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FF0000"/>
              </a:buClr>
              <a:buSzPts val="3600"/>
              <a:buFont typeface="Wingdings" panose="05000000000000000000" pitchFamily="2" charset="2"/>
              <a:buChar char="ü"/>
            </a:pPr>
            <a:r>
              <a:rPr lang="ko-KR" altLang="ko-KR" sz="2000" dirty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lang="ko-KR" altLang="ko-KR" sz="2000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4588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15" name="그룹 11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6454149" y="67657"/>
            <a:chExt cx="2593033" cy="346410"/>
          </a:xfrm>
        </p:grpSpPr>
        <p:sp>
          <p:nvSpPr>
            <p:cNvPr id="16" name="AutoShape 4"/>
            <p:cNvSpPr>
              <a:spLocks noChangeArrowheads="1"/>
            </p:cNvSpPr>
            <p:nvPr/>
          </p:nvSpPr>
          <p:spPr bwMode="auto">
            <a:xfrm>
              <a:off x="8454145" y="135207"/>
              <a:ext cx="593037" cy="268467"/>
            </a:xfrm>
            <a:prstGeom prst="homePlate">
              <a:avLst>
                <a:gd name="adj" fmla="val 21640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7" name="AutoShape 6"/>
            <p:cNvSpPr>
              <a:spLocks noChangeArrowheads="1"/>
            </p:cNvSpPr>
            <p:nvPr/>
          </p:nvSpPr>
          <p:spPr bwMode="auto">
            <a:xfrm>
              <a:off x="7959548" y="135207"/>
              <a:ext cx="593037" cy="268467"/>
            </a:xfrm>
            <a:prstGeom prst="homePlate">
              <a:avLst>
                <a:gd name="adj" fmla="val 21261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8" name="AutoShape 8"/>
            <p:cNvSpPr>
              <a:spLocks noChangeArrowheads="1"/>
            </p:cNvSpPr>
            <p:nvPr/>
          </p:nvSpPr>
          <p:spPr bwMode="auto">
            <a:xfrm>
              <a:off x="7464951" y="67657"/>
              <a:ext cx="590635" cy="268468"/>
            </a:xfrm>
            <a:prstGeom prst="homePlate">
              <a:avLst>
                <a:gd name="adj" fmla="val 25372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9" name="AutoShape 10"/>
            <p:cNvSpPr>
              <a:spLocks noChangeArrowheads="1"/>
            </p:cNvSpPr>
            <p:nvPr/>
          </p:nvSpPr>
          <p:spPr bwMode="auto">
            <a:xfrm>
              <a:off x="6967954" y="145600"/>
              <a:ext cx="593035" cy="268467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0" name="AutoShape 12"/>
            <p:cNvSpPr>
              <a:spLocks noChangeArrowheads="1"/>
            </p:cNvSpPr>
            <p:nvPr/>
          </p:nvSpPr>
          <p:spPr bwMode="auto">
            <a:xfrm>
              <a:off x="6454149" y="145600"/>
              <a:ext cx="593035" cy="268467"/>
            </a:xfrm>
            <a:prstGeom prst="homePlate">
              <a:avLst>
                <a:gd name="adj" fmla="val 254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22" name="Text Box 4"/>
          <p:cNvSpPr txBox="1">
            <a:spLocks noChangeArrowheads="1"/>
          </p:cNvSpPr>
          <p:nvPr/>
        </p:nvSpPr>
        <p:spPr bwMode="auto">
          <a:xfrm>
            <a:off x="57150" y="76200"/>
            <a:ext cx="4195379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A. </a:t>
            </a:r>
            <a:r>
              <a:rPr lang="ko-KR" altLang="en-US" sz="20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낭비요소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발생 </a:t>
            </a:r>
            <a:r>
              <a:rPr lang="ko-KR" altLang="en-US" sz="2000" dirty="0" err="1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가인자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③ 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EDI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완료 </a:t>
            </a:r>
            <a:r>
              <a:rPr lang="ko-KR" altLang="en-US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후</a:t>
            </a:r>
          </a:p>
        </p:txBody>
      </p:sp>
      <p:sp>
        <p:nvSpPr>
          <p:cNvPr id="24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DI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는 수처리 마지막 공정으로 </a:t>
            </a: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낭비요소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없음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23" name="Text Box 359"/>
          <p:cNvSpPr txBox="1">
            <a:spLocks noChangeArrowheads="1"/>
          </p:cNvSpPr>
          <p:nvPr/>
        </p:nvSpPr>
        <p:spPr bwMode="auto">
          <a:xfrm>
            <a:off x="744803" y="1231241"/>
            <a:ext cx="7304541" cy="208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358775" indent="-179388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ko-KR" altLang="en-US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기 이온교환 </a:t>
            </a:r>
            <a:r>
              <a:rPr lang="en-US" altLang="ko-KR" sz="12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EDI</a:t>
            </a:r>
            <a:r>
              <a:rPr lang="en-US" altLang="ko-KR" sz="120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, Electro Deionization)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온교환막과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온교환수지 및 전기를 이용하여 고순도의 물을 제조하는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장치임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err="1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가인자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②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O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스템을 통과한 </a:t>
            </a:r>
            <a:r>
              <a:rPr lang="ko-KR" altLang="en-US" sz="1200" b="0" dirty="0" err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초순수에서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전기 이온을 제거하기 위해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380V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전압을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공급함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그렇게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되면 양쪽에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Anode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과 </a:t>
            </a:r>
            <a:r>
              <a:rPr lang="en-US" altLang="ko-KR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cathode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극이 형성되어 용수에 포함된 전기 이온이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거됨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/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</a:b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 EDI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는 수처리 마지막 단계로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EDI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수량을 줄일 경우 품질 이슈 발생할 수 있음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.</a:t>
            </a:r>
            <a:b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</a:b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    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EDI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수처리 용량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(Capacity)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을 고려하여 현수준 </a:t>
            </a:r>
            <a:r>
              <a:rPr lang="ko-KR" altLang="en-US" sz="1200" b="0" dirty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유지하기로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함</a:t>
            </a: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anose="05000000000000000000" pitchFamily="2" charset="2"/>
              </a:rPr>
              <a:t>.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pic>
        <p:nvPicPr>
          <p:cNvPr id="29" name="그림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497"/>
          <a:stretch/>
        </p:blipFill>
        <p:spPr bwMode="auto">
          <a:xfrm>
            <a:off x="2076339" y="3719603"/>
            <a:ext cx="2228589" cy="2013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그림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91"/>
          <a:stretch/>
        </p:blipFill>
        <p:spPr bwMode="auto">
          <a:xfrm>
            <a:off x="4448944" y="3719602"/>
            <a:ext cx="2659554" cy="2013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6"/>
          <p:cNvSpPr txBox="1">
            <a:spLocks noChangeArrowheads="1"/>
          </p:cNvSpPr>
          <p:nvPr/>
        </p:nvSpPr>
        <p:spPr bwMode="auto">
          <a:xfrm>
            <a:off x="4075793" y="5845020"/>
            <a:ext cx="733191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EDI </a:t>
            </a:r>
            <a:r>
              <a:rPr lang="ko-KR" altLang="en-US" sz="12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실물</a:t>
            </a:r>
            <a:endParaRPr lang="en-US" altLang="ko-KR" sz="12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Line 21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/>
          </a:p>
        </p:txBody>
      </p:sp>
      <p:grpSp>
        <p:nvGrpSpPr>
          <p:cNvPr id="29699" name="그룹 19"/>
          <p:cNvGrpSpPr>
            <a:grpSpLocks/>
          </p:cNvGrpSpPr>
          <p:nvPr/>
        </p:nvGrpSpPr>
        <p:grpSpPr bwMode="auto">
          <a:xfrm>
            <a:off x="7847013" y="142875"/>
            <a:ext cx="1714500" cy="317500"/>
            <a:chOff x="7847013" y="142852"/>
            <a:chExt cx="1714500" cy="317523"/>
          </a:xfrm>
        </p:grpSpPr>
        <p:sp>
          <p:nvSpPr>
            <p:cNvPr id="29707" name="AutoShape 4"/>
            <p:cNvSpPr>
              <a:spLocks noChangeArrowheads="1"/>
            </p:cNvSpPr>
            <p:nvPr/>
          </p:nvSpPr>
          <p:spPr bwMode="auto">
            <a:xfrm>
              <a:off x="9169400" y="204769"/>
              <a:ext cx="392113" cy="246080"/>
            </a:xfrm>
            <a:prstGeom prst="homePlate">
              <a:avLst>
                <a:gd name="adj" fmla="val 21644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C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08" name="AutoShape 6"/>
            <p:cNvSpPr>
              <a:spLocks noChangeArrowheads="1"/>
            </p:cNvSpPr>
            <p:nvPr/>
          </p:nvSpPr>
          <p:spPr bwMode="auto">
            <a:xfrm>
              <a:off x="8842375" y="142852"/>
              <a:ext cx="392113" cy="246081"/>
            </a:xfrm>
            <a:prstGeom prst="homePlate">
              <a:avLst>
                <a:gd name="adj" fmla="val 21268"/>
              </a:avLst>
            </a:prstGeom>
            <a:solidFill>
              <a:srgbClr val="EAEAEA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chemeClr val="tx1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I</a:t>
              </a:r>
              <a:endParaRPr lang="ko-KR" altLang="en-US" sz="1000" i="1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09" name="AutoShape 8"/>
            <p:cNvSpPr>
              <a:spLocks noChangeArrowheads="1"/>
            </p:cNvSpPr>
            <p:nvPr/>
          </p:nvSpPr>
          <p:spPr bwMode="auto">
            <a:xfrm>
              <a:off x="8515350" y="214295"/>
              <a:ext cx="390525" cy="246080"/>
            </a:xfrm>
            <a:prstGeom prst="homePlate">
              <a:avLst>
                <a:gd name="adj" fmla="val 25377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A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10" name="AutoShape 10"/>
            <p:cNvSpPr>
              <a:spLocks noChangeArrowheads="1"/>
            </p:cNvSpPr>
            <p:nvPr/>
          </p:nvSpPr>
          <p:spPr bwMode="auto">
            <a:xfrm>
              <a:off x="8186738" y="214295"/>
              <a:ext cx="392112" cy="246080"/>
            </a:xfrm>
            <a:prstGeom prst="homePlate">
              <a:avLst>
                <a:gd name="adj" fmla="val 21312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M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9711" name="AutoShape 12"/>
            <p:cNvSpPr>
              <a:spLocks noChangeArrowheads="1"/>
            </p:cNvSpPr>
            <p:nvPr/>
          </p:nvSpPr>
          <p:spPr bwMode="auto">
            <a:xfrm>
              <a:off x="7847013" y="214295"/>
              <a:ext cx="392112" cy="246080"/>
            </a:xfrm>
            <a:prstGeom prst="homePlate">
              <a:avLst>
                <a:gd name="adj" fmla="val 25443"/>
              </a:avLst>
            </a:prstGeom>
            <a:solidFill>
              <a:srgbClr val="F8F8F8"/>
            </a:solidFill>
            <a:ln w="3175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anchor="ctr">
              <a:spAutoFit/>
            </a:bodyPr>
            <a:lstStyle>
              <a:lvl1pPr latinLnBrk="1">
                <a:spcBef>
                  <a:spcPct val="20000"/>
                </a:spcBef>
                <a:buChar char="•"/>
                <a:defRPr kumimoji="1" sz="32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1pPr>
              <a:lvl2pPr marL="742950" indent="-285750" latinLnBrk="1">
                <a:spcBef>
                  <a:spcPct val="20000"/>
                </a:spcBef>
                <a:buChar char="–"/>
                <a:defRPr kumimoji="1" sz="28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2pPr>
              <a:lvl3pPr marL="1143000" indent="-228600" latinLnBrk="1">
                <a:spcBef>
                  <a:spcPct val="20000"/>
                </a:spcBef>
                <a:buChar char="•"/>
                <a:defRPr kumimoji="1" sz="24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3pPr>
              <a:lvl4pPr marL="1600200" indent="-228600" latinLnBrk="1">
                <a:spcBef>
                  <a:spcPct val="20000"/>
                </a:spcBef>
                <a:buChar char="–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4pPr>
              <a:lvl5pPr marL="2057400" indent="-228600" latinLnBrk="1">
                <a:spcBef>
                  <a:spcPct val="20000"/>
                </a:spcBef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rgbClr val="000000"/>
                  </a:solidFill>
                  <a:latin typeface="굴림" panose="020B0600000101010101" pitchFamily="50" charset="-127"/>
                  <a:ea typeface="굴림" panose="020B0600000101010101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ko-KR" sz="1000" i="1">
                  <a:solidFill>
                    <a:srgbClr val="5F5F5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Arial" panose="020B0604020202020204" pitchFamily="34" charset="0"/>
                </a:rPr>
                <a:t>D</a:t>
              </a:r>
              <a:endParaRPr lang="ko-KR" altLang="en-US" sz="1000" i="1">
                <a:solidFill>
                  <a:srgbClr val="5F5F5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71" name="Text Box 4"/>
          <p:cNvSpPr txBox="1">
            <a:spLocks noChangeArrowheads="1"/>
          </p:cNvSpPr>
          <p:nvPr/>
        </p:nvSpPr>
        <p:spPr bwMode="auto">
          <a:xfrm>
            <a:off x="57150" y="76200"/>
            <a:ext cx="2677336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US" altLang="ko-KR" sz="2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I. </a:t>
            </a:r>
            <a:r>
              <a:rPr lang="ko-KR" altLang="en-US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검증 데이터 </a:t>
            </a:r>
            <a:r>
              <a:rPr lang="en-US" altLang="ko-KR" sz="20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Arial" pitchFamily="34" charset="0"/>
              </a:rPr>
              <a:t>Summary</a:t>
            </a:r>
            <a:endParaRPr lang="ko-KR" altLang="en-US" sz="2000" dirty="0">
              <a:latin typeface="LG스마트체 Regular" panose="020B0600000101010101" pitchFamily="50" charset="-127"/>
              <a:ea typeface="LG스마트체 Regular" panose="020B0600000101010101" pitchFamily="50" charset="-127"/>
              <a:cs typeface="Arial" pitchFamily="34" charset="0"/>
            </a:endParaRPr>
          </a:p>
        </p:txBody>
      </p:sp>
      <p:sp>
        <p:nvSpPr>
          <p:cNvPr id="69" name="TextBox 13"/>
          <p:cNvSpPr txBox="1">
            <a:spLocks noChangeArrowheads="1"/>
          </p:cNvSpPr>
          <p:nvPr/>
        </p:nvSpPr>
        <p:spPr bwMode="auto">
          <a:xfrm>
            <a:off x="2085090" y="1100138"/>
            <a:ext cx="1193253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Quantile </a:t>
            </a: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분석</a:t>
            </a:r>
            <a:endParaRPr lang="ko-KR" altLang="en-US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70" name="직선 연결선 69"/>
          <p:cNvCxnSpPr/>
          <p:nvPr/>
        </p:nvCxnSpPr>
        <p:spPr>
          <a:xfrm>
            <a:off x="449263" y="1468438"/>
            <a:ext cx="44338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17"/>
          <p:cNvSpPr txBox="1">
            <a:spLocks noChangeArrowheads="1"/>
          </p:cNvSpPr>
          <p:nvPr/>
        </p:nvSpPr>
        <p:spPr bwMode="auto">
          <a:xfrm>
            <a:off x="6825208" y="1100138"/>
            <a:ext cx="859829" cy="33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준</a:t>
            </a:r>
            <a:r>
              <a:rPr lang="en-US" altLang="ko-KR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ko-KR" altLang="en-US" sz="140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설정</a:t>
            </a:r>
            <a:endParaRPr lang="ko-KR" altLang="en-US" sz="14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cxnSp>
        <p:nvCxnSpPr>
          <p:cNvPr id="73" name="직선 연결선 72"/>
          <p:cNvCxnSpPr/>
          <p:nvPr/>
        </p:nvCxnSpPr>
        <p:spPr>
          <a:xfrm>
            <a:off x="5153025" y="1468438"/>
            <a:ext cx="44354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Box 6"/>
          <p:cNvSpPr txBox="1">
            <a:spLocks noChangeArrowheads="1"/>
          </p:cNvSpPr>
          <p:nvPr/>
        </p:nvSpPr>
        <p:spPr bwMode="auto">
          <a:xfrm>
            <a:off x="344488" y="598488"/>
            <a:ext cx="9490075" cy="349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latinLnBrk="0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가 높은 근무시간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09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~ 18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 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의 </a:t>
            </a:r>
            <a:r>
              <a:rPr lang="en-US" altLang="ko-KR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160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분위를</a:t>
            </a:r>
            <a:r>
              <a:rPr lang="ko-KR" altLang="en-US" sz="160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전도도 폐기 기준으로 설정함</a:t>
            </a:r>
            <a:endParaRPr lang="en-US" altLang="ko-KR" sz="160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3"/>
          <a:srcRect l="9081" t="12390" r="4227" b="8677"/>
          <a:stretch/>
        </p:blipFill>
        <p:spPr>
          <a:xfrm>
            <a:off x="992560" y="1916832"/>
            <a:ext cx="3327132" cy="2952328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4"/>
          <a:srcRect l="12595" t="11564" r="2498" b="6439"/>
          <a:stretch/>
        </p:blipFill>
        <p:spPr>
          <a:xfrm>
            <a:off x="5673080" y="1851816"/>
            <a:ext cx="3300541" cy="3106392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09927" y="5085184"/>
            <a:ext cx="3619537" cy="413999"/>
          </a:xfrm>
          <a:prstGeom prst="rect">
            <a:avLst/>
          </a:prstGeom>
        </p:spPr>
      </p:pic>
      <p:sp>
        <p:nvSpPr>
          <p:cNvPr id="80" name="TextBox 36"/>
          <p:cNvSpPr txBox="1">
            <a:spLocks noChangeArrowheads="1"/>
          </p:cNvSpPr>
          <p:nvPr/>
        </p:nvSpPr>
        <p:spPr bwMode="auto">
          <a:xfrm>
            <a:off x="1370632" y="2073150"/>
            <a:ext cx="1017741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근무시간</a:t>
            </a:r>
            <a:endParaRPr lang="en-US" altLang="ko-KR" sz="900" b="0" dirty="0" smtClean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18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 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~ 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익일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09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81" name="TextBox 36"/>
          <p:cNvSpPr txBox="1">
            <a:spLocks noChangeArrowheads="1"/>
          </p:cNvSpPr>
          <p:nvPr/>
        </p:nvSpPr>
        <p:spPr bwMode="auto">
          <a:xfrm>
            <a:off x="2838771" y="2073150"/>
            <a:ext cx="882271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무시간</a:t>
            </a:r>
            <a:endParaRPr lang="en-US" altLang="ko-KR" sz="900" b="0" dirty="0" smtClean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09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 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~ 18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82" name="왼쪽 중괄호 81"/>
          <p:cNvSpPr/>
          <p:nvPr/>
        </p:nvSpPr>
        <p:spPr>
          <a:xfrm rot="5400000">
            <a:off x="1732701" y="1960087"/>
            <a:ext cx="309728" cy="1219820"/>
          </a:xfrm>
          <a:prstGeom prst="leftBrac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rgbClr val="0000FF"/>
              </a:solidFill>
            </a:endParaRPr>
          </a:p>
        </p:txBody>
      </p:sp>
      <p:sp>
        <p:nvSpPr>
          <p:cNvPr id="83" name="왼쪽 중괄호 82"/>
          <p:cNvSpPr/>
          <p:nvPr/>
        </p:nvSpPr>
        <p:spPr>
          <a:xfrm rot="5400000">
            <a:off x="3127740" y="1832006"/>
            <a:ext cx="309728" cy="1475982"/>
          </a:xfrm>
          <a:prstGeom prst="leftBrac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rgbClr val="0000FF"/>
              </a:solidFill>
            </a:endParaRPr>
          </a:p>
        </p:txBody>
      </p:sp>
      <p:sp>
        <p:nvSpPr>
          <p:cNvPr id="84" name="TextBox 36"/>
          <p:cNvSpPr txBox="1">
            <a:spLocks noChangeArrowheads="1"/>
          </p:cNvSpPr>
          <p:nvPr/>
        </p:nvSpPr>
        <p:spPr bwMode="auto">
          <a:xfrm>
            <a:off x="1233309" y="4204098"/>
            <a:ext cx="1055395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= RO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6" name="왼쪽 중괄호 85"/>
          <p:cNvSpPr/>
          <p:nvPr/>
        </p:nvSpPr>
        <p:spPr>
          <a:xfrm rot="5400000">
            <a:off x="7128269" y="1131862"/>
            <a:ext cx="309728" cy="2876271"/>
          </a:xfrm>
          <a:prstGeom prst="leftBrac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ko-KR" altLang="en-US">
              <a:solidFill>
                <a:srgbClr val="0000FF"/>
              </a:solidFill>
            </a:endParaRPr>
          </a:p>
        </p:txBody>
      </p:sp>
      <p:sp>
        <p:nvSpPr>
          <p:cNvPr id="87" name="TextBox 36"/>
          <p:cNvSpPr txBox="1">
            <a:spLocks noChangeArrowheads="1"/>
          </p:cNvSpPr>
          <p:nvPr/>
        </p:nvSpPr>
        <p:spPr bwMode="auto">
          <a:xfrm>
            <a:off x="6841997" y="2073150"/>
            <a:ext cx="882271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근무시간</a:t>
            </a:r>
            <a:endParaRPr lang="en-US" altLang="ko-KR" sz="900" b="0" dirty="0" smtClean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09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 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~ 18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900" b="0" dirty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sp>
        <p:nvSpPr>
          <p:cNvPr id="88" name="TextBox 36"/>
          <p:cNvSpPr txBox="1">
            <a:spLocks noChangeArrowheads="1"/>
          </p:cNvSpPr>
          <p:nvPr/>
        </p:nvSpPr>
        <p:spPr bwMode="auto">
          <a:xfrm>
            <a:off x="5737137" y="3789039"/>
            <a:ext cx="1448130" cy="3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1</a:t>
            </a:r>
            <a:r>
              <a:rPr lang="ko-KR" altLang="en-US" sz="900" b="0" dirty="0" err="1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사분위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453.4 </a:t>
            </a:r>
            <a:r>
              <a:rPr lang="el-GR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μ</a:t>
            </a:r>
            <a:r>
              <a:rPr lang="en-US" altLang="ko-KR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S/cm)</a:t>
            </a: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를</a:t>
            </a:r>
            <a:endParaRPr lang="en-US" altLang="ko-KR" sz="900" b="0" dirty="0" smtClean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900" b="0" dirty="0" smtClean="0">
                <a:solidFill>
                  <a:srgbClr val="0000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기준으로 설정함</a:t>
            </a:r>
            <a:endParaRPr lang="en-US" altLang="ko-KR" sz="900" b="0" dirty="0">
              <a:solidFill>
                <a:srgbClr val="0000FF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89" name="TextBox 36"/>
          <p:cNvSpPr txBox="1">
            <a:spLocks noChangeArrowheads="1"/>
          </p:cNvSpPr>
          <p:nvPr/>
        </p:nvSpPr>
        <p:spPr bwMode="auto">
          <a:xfrm>
            <a:off x="5784844" y="4204098"/>
            <a:ext cx="2401894" cy="23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latinLnBrk="1">
              <a:spcBef>
                <a:spcPct val="20000"/>
              </a:spcBef>
              <a:buChar char="•"/>
              <a:defRPr kumimoji="1" sz="32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latinLnBrk="1">
              <a:spcBef>
                <a:spcPct val="20000"/>
              </a:spcBef>
              <a:buChar char="–"/>
              <a:defRPr kumimoji="1" sz="28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latinLnBrk="1">
              <a:spcBef>
                <a:spcPct val="20000"/>
              </a:spcBef>
              <a:buChar char="•"/>
              <a:defRPr kumimoji="1" sz="24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latinLnBrk="1">
              <a:spcBef>
                <a:spcPct val="20000"/>
              </a:spcBef>
              <a:buChar char="–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latinLnBrk="1">
              <a:spcBef>
                <a:spcPct val="20000"/>
              </a:spcBef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rgbClr val="000000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Data = RO 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전도도 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09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 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~ 18</a:t>
            </a:r>
            <a:r>
              <a:rPr lang="ko-KR" altLang="en-US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시</a:t>
            </a:r>
            <a:r>
              <a:rPr lang="en-US" altLang="ko-KR" sz="900" b="0" dirty="0" smtClean="0">
                <a:solidFill>
                  <a:schemeClr val="tx1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endParaRPr lang="en-US" altLang="ko-KR" sz="900" b="0" dirty="0">
              <a:solidFill>
                <a:schemeClr val="tx1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936853" y="3517131"/>
            <a:ext cx="168275" cy="4159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18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18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545576" y="5005445"/>
            <a:ext cx="168275" cy="4159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FFFFF"/>
            </a:outerShdw>
          </a:effectLst>
        </p:spPr>
        <p:txBody>
          <a:bodyPr wrap="none" lIns="0" tIns="0" rIns="0" bIns="0">
            <a:spAutoFit/>
          </a:bodyPr>
          <a:lstStyle/>
          <a:p>
            <a:pPr algn="ctr" eaLnBrk="1" hangingPunct="1">
              <a:lnSpc>
                <a:spcPct val="150000"/>
              </a:lnSpc>
              <a:spcBef>
                <a:spcPct val="70000"/>
              </a:spcBef>
              <a:buFont typeface="Arial" charset="0"/>
              <a:buNone/>
              <a:defRPr/>
            </a:pPr>
            <a:r>
              <a:rPr lang="ko-KR" altLang="en-US" sz="1800" b="0" kern="0" spc="-100" dirty="0">
                <a:solidFill>
                  <a:srgbClr val="FF0000"/>
                </a:solidFill>
                <a:latin typeface="Arial Narrow" panose="020B0606020202030204" pitchFamily="34" charset="0"/>
                <a:ea typeface="LG스마트체 Regular" panose="020B0600000101010101" pitchFamily="50" charset="-127"/>
                <a:cs typeface="Arial" panose="020B0604020202020204" pitchFamily="34" charset="0"/>
                <a:sym typeface="Wingdings"/>
              </a:rPr>
              <a:t></a:t>
            </a:r>
            <a:endParaRPr lang="ko-KR" altLang="en-US" sz="1800" b="0" kern="0" spc="-100" dirty="0">
              <a:solidFill>
                <a:srgbClr val="FF0000"/>
              </a:solidFill>
              <a:latin typeface="Arial Narrow" panose="020B0606020202030204" pitchFamily="34" charset="0"/>
              <a:ea typeface="LG스마트체 Regular" panose="020B0600000101010101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00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DfcswvrkGAb_dPVNvr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l_yVTibkebre_mBjw7RQ"/>
</p:tagLst>
</file>

<file path=ppt/theme/theme1.xml><?xml version="1.0" encoding="utf-8"?>
<a:theme xmlns:a="http://schemas.openxmlformats.org/drawingml/2006/main" name="3_기본 디자인">
  <a:themeElements>
    <a:clrScheme name="1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기본 디자인">
      <a:majorFont>
        <a:latin typeface="HY울릉도B"/>
        <a:ea typeface="HY울릉도B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noFill/>
          <a:prstDash val="sysDot"/>
          <a:round/>
          <a:headEnd type="none" w="med" len="med"/>
          <a:tailEnd type="none" w="med" len="med"/>
        </a:ln>
        <a:effectLst/>
      </a:spPr>
      <a:bodyPr vert="horz" wrap="none" lIns="91413" tIns="45707" rIns="91413" bIns="45707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1" hangingPunct="1">
          <a:lnSpc>
            <a:spcPct val="85000"/>
          </a:lnSpc>
          <a:spcBef>
            <a:spcPct val="30000"/>
          </a:spcBef>
          <a:spcAft>
            <a:spcPct val="30000"/>
          </a:spcAft>
          <a:buClrTx/>
          <a:buSzTx/>
          <a:buFont typeface="Wingdings" pitchFamily="2" charset="2"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rgbClr val="404040"/>
            </a:solidFill>
            <a:effectLst/>
            <a:latin typeface="Arial" pitchFamily="34" charset="0"/>
            <a:ea typeface="돋움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EAEAEA"/>
        </a:solidFill>
        <a:ln w="9525" cap="flat" cmpd="sng" algn="ctr">
          <a:noFill/>
          <a:prstDash val="sysDot"/>
          <a:round/>
          <a:headEnd type="none" w="med" len="med"/>
          <a:tailEnd type="none" w="med" len="med"/>
        </a:ln>
        <a:effectLst/>
      </a:spPr>
      <a:bodyPr vert="horz" wrap="none" lIns="91413" tIns="45707" rIns="91413" bIns="45707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1" hangingPunct="1">
          <a:lnSpc>
            <a:spcPct val="85000"/>
          </a:lnSpc>
          <a:spcBef>
            <a:spcPct val="30000"/>
          </a:spcBef>
          <a:spcAft>
            <a:spcPct val="30000"/>
          </a:spcAft>
          <a:buClrTx/>
          <a:buSzTx/>
          <a:buFont typeface="Wingdings" pitchFamily="2" charset="2"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rgbClr val="404040"/>
            </a:solidFill>
            <a:effectLst/>
            <a:latin typeface="Arial" pitchFamily="34" charset="0"/>
            <a:ea typeface="돋움" pitchFamily="50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094</TotalTime>
  <Words>2153</Words>
  <Application>Microsoft Office PowerPoint</Application>
  <PresentationFormat>A4 용지(210x297mm)</PresentationFormat>
  <Paragraphs>294</Paragraphs>
  <Slides>12</Slides>
  <Notes>12</Notes>
  <HiddenSlides>0</HiddenSlides>
  <MMClips>0</MMClips>
  <ScaleCrop>false</ScaleCrop>
  <HeadingPairs>
    <vt:vector size="6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24" baseType="lpstr">
      <vt:lpstr>HY울릉도B</vt:lpstr>
      <vt:lpstr>LG스마트체 Regular</vt:lpstr>
      <vt:lpstr>Open Sans</vt:lpstr>
      <vt:lpstr>굴림</vt:lpstr>
      <vt:lpstr>나눔고딕</vt:lpstr>
      <vt:lpstr>돋움</vt:lpstr>
      <vt:lpstr>맑은 고딕</vt:lpstr>
      <vt:lpstr>Arial</vt:lpstr>
      <vt:lpstr>Arial Narrow</vt:lpstr>
      <vt:lpstr>Symbol</vt:lpstr>
      <vt:lpstr>Wingdings</vt:lpstr>
      <vt:lpstr>3_기본 디자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</dc:creator>
  <cp:lastModifiedBy>황의영(Hwang, Eui-yeong)[heuiy]</cp:lastModifiedBy>
  <cp:revision>3339</cp:revision>
  <dcterms:created xsi:type="dcterms:W3CDTF">2008-11-26T05:44:28Z</dcterms:created>
  <dcterms:modified xsi:type="dcterms:W3CDTF">2020-10-08T12:31:20Z</dcterms:modified>
</cp:coreProperties>
</file>